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4" r:id="rId4"/>
  </p:sldMasterIdLst>
  <p:notesMasterIdLst>
    <p:notesMasterId r:id="rId27"/>
  </p:notesMasterIdLst>
  <p:sldIdLst>
    <p:sldId id="2147475163" r:id="rId5"/>
    <p:sldId id="2147475164" r:id="rId6"/>
    <p:sldId id="2147475165" r:id="rId7"/>
    <p:sldId id="2147475166" r:id="rId8"/>
    <p:sldId id="2147475167" r:id="rId9"/>
    <p:sldId id="2147475168" r:id="rId10"/>
    <p:sldId id="2147475169" r:id="rId11"/>
    <p:sldId id="2147475170" r:id="rId12"/>
    <p:sldId id="2147475171" r:id="rId13"/>
    <p:sldId id="2147475172" r:id="rId14"/>
    <p:sldId id="2147475173" r:id="rId15"/>
    <p:sldId id="2147475174" r:id="rId16"/>
    <p:sldId id="2147475175" r:id="rId17"/>
    <p:sldId id="2147475176" r:id="rId18"/>
    <p:sldId id="2147475177" r:id="rId19"/>
    <p:sldId id="2147475178" r:id="rId20"/>
    <p:sldId id="2147475179" r:id="rId21"/>
    <p:sldId id="2147475180" r:id="rId22"/>
    <p:sldId id="2147475181" r:id="rId23"/>
    <p:sldId id="2147475182" r:id="rId24"/>
    <p:sldId id="2147475183" r:id="rId25"/>
    <p:sldId id="2147475184" r:id="rId2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Innovation Summary" id="{2DBD6FCA-4587-4207-98C3-4F3F154DE0B6}">
          <p14:sldIdLst>
            <p14:sldId id="2147475163"/>
          </p14:sldIdLst>
        </p14:section>
        <p14:section name="Innovation ranking" id="{77C6EF51-E931-4CF7-8097-B033ED70CE5E}">
          <p14:sldIdLst>
            <p14:sldId id="2147475164"/>
            <p14:sldId id="2147475165"/>
            <p14:sldId id="2147475166"/>
            <p14:sldId id="2147475167"/>
            <p14:sldId id="2147475168"/>
            <p14:sldId id="2147475169"/>
            <p14:sldId id="2147475170"/>
          </p14:sldIdLst>
        </p14:section>
        <p14:section name="Innovation potential" id="{3E9A0A4D-5667-4FF1-8D63-76841A203926}">
          <p14:sldIdLst>
            <p14:sldId id="2147475171"/>
            <p14:sldId id="2147475172"/>
            <p14:sldId id="2147475173"/>
            <p14:sldId id="2147475174"/>
            <p14:sldId id="2147475175"/>
            <p14:sldId id="2147475176"/>
            <p14:sldId id="2147475177"/>
          </p14:sldIdLst>
        </p14:section>
        <p14:section name="Innovation sourcing" id="{09E257C1-4763-4B76-B88E-8B330E80C5C1}">
          <p14:sldIdLst>
            <p14:sldId id="2147475178"/>
            <p14:sldId id="2147475179"/>
            <p14:sldId id="2147475180"/>
            <p14:sldId id="2147475181"/>
            <p14:sldId id="2147475182"/>
            <p14:sldId id="2147475183"/>
            <p14:sldId id="2147475184"/>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91D510E-8A0A-4BE8-8552-728A5B0C5021}" v="42" dt="2024-11-01T08:53:01.22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103" d="100"/>
          <a:sy n="103" d="100"/>
        </p:scale>
        <p:origin x="902" y="77"/>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notesMaster" Target="notesMasters/notesMaster1.xml"/><Relationship Id="rId28" Type="http://schemas.openxmlformats.org/officeDocument/2006/relationships/presProps" Target="presProps.xml"/><Relationship Id="rId29" Type="http://schemas.openxmlformats.org/officeDocument/2006/relationships/viewProps" Target="viewProps.xml"/><Relationship Id="rId30" Type="http://schemas.openxmlformats.org/officeDocument/2006/relationships/theme" Target="theme/theme1.xml"/><Relationship Id="rId31" Type="http://schemas.openxmlformats.org/officeDocument/2006/relationships/tableStyles" Target="tableStyles.xml"/><Relationship Id="rId32"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Activia Kefir 600ml</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C00000"/>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r>
                      <a:rPr sz="500">
                        <a:solidFill>
                          <a:srgbClr val="C00000"/>
                        </a:solidFill>
                      </a:rPr>
                      <a:t>Activia Kefir 6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9</c:f>
              <c:strCache>
                <c:ptCount val="88"/>
                <c:pt idx="0">
                  <c:v>Carrefour Natural 8x125g</c:v>
                </c:pt>
                <c:pt idx="1">
                  <c:v>Danone Fresa 4x120g</c:v>
                </c:pt>
                <c:pt idx="2">
                  <c:v>Carrefour Griego Natural 6x125g</c:v>
                </c:pt>
                <c:pt idx="3">
                  <c:v>Carrefour Sabores Mix 16x125g</c:v>
                </c:pt>
                <c:pt idx="4">
                  <c:v>Carrefour Griego Natural 1000g</c:v>
                </c:pt>
                <c:pt idx="5">
                  <c:v>Danone Natural 8x120g</c:v>
                </c:pt>
                <c:pt idx="6">
                  <c:v>Carrefour Griego Stracciatella 6x125g</c:v>
                </c:pt>
                <c:pt idx="7">
                  <c:v>Carrefour Griego Fresa 6x125g</c:v>
                </c:pt>
                <c:pt idx="8">
                  <c:v>Alpro Coco 400g</c:v>
                </c:pt>
                <c:pt idx="9">
                  <c:v>Carrefour L-Casei Fresa/Plátano y Piña/Coco 12x100g</c:v>
                </c:pt>
                <c:pt idx="10">
                  <c:v>Activia Natural 0% 8x120g</c:v>
                </c:pt>
                <c:pt idx="11">
                  <c:v>Actimel Fresa 6x100g</c:v>
                </c:pt>
                <c:pt idx="12">
                  <c:v>Carrefour Kefir 500g</c:v>
                </c:pt>
                <c:pt idx="13">
                  <c:v>Carrefour Fresa &amp; Plátano 8x125g</c:v>
                </c:pt>
                <c:pt idx="14">
                  <c:v>Carrefour Bifidus Fresa 0% 4x125g</c:v>
                </c:pt>
                <c:pt idx="15">
                  <c:v>Danone Mix Coco/Fresa/Frutos del Bosque/Macedoine 8x120g</c:v>
                </c:pt>
                <c:pt idx="16">
                  <c:v>Activia Natural 0% 16x120g</c:v>
                </c:pt>
                <c:pt idx="17">
                  <c:v>Activia Melocotón 0% 4x120g</c:v>
                </c:pt>
                <c:pt idx="18">
                  <c:v>Activia Natural 8x120g</c:v>
                </c:pt>
                <c:pt idx="19">
                  <c:v>Oikos Griego Natural 4x110g</c:v>
                </c:pt>
                <c:pt idx="20">
                  <c:v>Carrefour Natural 0% 6x125g</c:v>
                </c:pt>
                <c:pt idx="21">
                  <c:v>Vitalinea Fresa 0% 4x120g</c:v>
                </c:pt>
                <c:pt idx="22">
                  <c:v>Danone Griego Stracciatella 4x110g</c:v>
                </c:pt>
                <c:pt idx="23">
                  <c:v>Activia Cremoso Fresa 4x115g</c:v>
                </c:pt>
                <c:pt idx="24">
                  <c:v>Danone Proteína Stracciatella 4x105g</c:v>
                </c:pt>
                <c:pt idx="25">
                  <c:v>Danacol Limón 6x100g</c:v>
                </c:pt>
                <c:pt idx="26">
                  <c:v>Oikos Griego Fresa 4x110g</c:v>
                </c:pt>
                <c:pt idx="27">
                  <c:v>Activia Avena Nueces 4x115g</c:v>
                </c:pt>
                <c:pt idx="28">
                  <c:v>Danone Griego Natural 4x110g</c:v>
                </c:pt>
                <c:pt idx="29">
                  <c:v>La Lechera Fresa 2x125g</c:v>
                </c:pt>
                <c:pt idx="30">
                  <c:v>Carrefour Fresa 0% 6x125g</c:v>
                </c:pt>
                <c:pt idx="31">
                  <c:v>Activia Natural 0% 4x120g</c:v>
                </c:pt>
                <c:pt idx="32">
                  <c:v>Carrefour Bifidus Natural 0% 6x125g</c:v>
                </c:pt>
                <c:pt idx="33">
                  <c:v>Danonino Fresa 4x100g</c:v>
                </c:pt>
                <c:pt idx="34">
                  <c:v>Carrefour Sabores Mix 12x125g</c:v>
                </c:pt>
                <c:pt idx="35">
                  <c:v>Carrefour Proteína Plátano 400g</c:v>
                </c:pt>
                <c:pt idx="36">
                  <c:v>Actimel Natural 0% 6x100g</c:v>
                </c:pt>
                <c:pt idx="37">
                  <c:v>Carrefour Bifidus Muesli 0% 4x125g</c:v>
                </c:pt>
                <c:pt idx="38">
                  <c:v>YoPro Fresa 300g</c:v>
                </c:pt>
                <c:pt idx="39">
                  <c:v>Carrefour Bifidus Frutos Rojos 4x125g</c:v>
                </c:pt>
                <c:pt idx="40">
                  <c:v>Danonino Fresa 6x50g</c:v>
                </c:pt>
                <c:pt idx="41">
                  <c:v>Danacol Natural 6x100g</c:v>
                </c:pt>
                <c:pt idx="42">
                  <c:v>Carrefour Kefir Mango Líquido 500g</c:v>
                </c:pt>
                <c:pt idx="43">
                  <c:v>Activia Cremoso Lima/Limón 4x115g</c:v>
                </c:pt>
                <c:pt idx="44">
                  <c:v>Carrefour Natural Líquido 500g</c:v>
                </c:pt>
                <c:pt idx="45">
                  <c:v>Carrefour Petit Fresa y Plátano 12x60g</c:v>
                </c:pt>
                <c:pt idx="46">
                  <c:v>El Pastoret Melocotón y Maracuyá 500g</c:v>
                </c:pt>
                <c:pt idx="47">
                  <c:v>Carrefour Actuàlcol Tropical 8x100g</c:v>
                </c:pt>
                <c:pt idx="48">
                  <c:v>Carrefour L-Casei Fresa 0% 6x100g</c:v>
                </c:pt>
                <c:pt idx="49">
                  <c:v>El Pastoret Kefir Natural 500g</c:v>
                </c:pt>
                <c:pt idx="50">
                  <c:v>Danone Proteína Fresa 0% 270g</c:v>
                </c:pt>
                <c:pt idx="51">
                  <c:v>Alpro Skyr Fresa 400g</c:v>
                </c:pt>
                <c:pt idx="52">
                  <c:v>Actimel Natural 12x100g</c:v>
                </c:pt>
                <c:pt idx="53">
                  <c:v>Danonino Fresa 4x70g</c:v>
                </c:pt>
                <c:pt idx="54">
                  <c:v>Nestlé Kefir Natural 6x100g</c:v>
                </c:pt>
                <c:pt idx="55">
                  <c:v>Danone Proteína Chocolate 4x120g</c:v>
                </c:pt>
                <c:pt idx="56">
                  <c:v>Activia Muesli 0% 4x115g</c:v>
                </c:pt>
                <c:pt idx="57">
                  <c:v>Carrefour Kefir Natural 4x125g</c:v>
                </c:pt>
                <c:pt idx="58">
                  <c:v>Danacol Natural 12x100g</c:v>
                </c:pt>
                <c:pt idx="59">
                  <c:v>Carrefour Soja Natural 6x100g</c:v>
                </c:pt>
                <c:pt idx="60">
                  <c:v>YoPro Pudding Chocolate 180g</c:v>
                </c:pt>
                <c:pt idx="61">
                  <c:v>Oikos Griego Natural 900g</c:v>
                </c:pt>
                <c:pt idx="62">
                  <c:v>Danone Original Fresa 2x130g</c:v>
                </c:pt>
                <c:pt idx="63">
                  <c:v>Nestlé Nesquik 6x60g</c:v>
                </c:pt>
                <c:pt idx="64">
                  <c:v>Activia Piña 0% 4x120g</c:v>
                </c:pt>
                <c:pt idx="65">
                  <c:v>Danone Griego Manzana Canela 4x110g</c:v>
                </c:pt>
                <c:pt idx="66">
                  <c:v>Oikos Griego Caramelo 2x110g</c:v>
                </c:pt>
                <c:pt idx="67">
                  <c:v>Nestlé Kit Kat 2x115g</c:v>
                </c:pt>
                <c:pt idx="68">
                  <c:v>Carrefour Flan Huevo Proteico 2x160g</c:v>
                </c:pt>
                <c:pt idx="69">
                  <c:v>Alpro Arándanos/Fruitas Rojos 4x125g</c:v>
                </c:pt>
                <c:pt idx="70">
                  <c:v>La Fageda Natural 4x125g</c:v>
                </c:pt>
                <c:pt idx="71">
                  <c:v>Carrefour Pudding Chocolate 200g</c:v>
                </c:pt>
                <c:pt idx="72">
                  <c:v>Danone Original 2x130g</c:v>
                </c:pt>
                <c:pt idx="73">
                  <c:v>Activia Kefir Natural 345g</c:v>
                </c:pt>
                <c:pt idx="74">
                  <c:v>Activia Kefir Arándanos 320g</c:v>
                </c:pt>
                <c:pt idx="75">
                  <c:v>Nestlé Smarties 2x128g</c:v>
                </c:pt>
                <c:pt idx="76">
                  <c:v>Alpro Postre Chocolate Negro 4x125g</c:v>
                </c:pt>
                <c:pt idx="77">
                  <c:v>Carrefour Skyr Natural 150g</c:v>
                </c:pt>
                <c:pt idx="78">
                  <c:v>YoPro Natural 480g</c:v>
                </c:pt>
                <c:pt idx="79">
                  <c:v>YoPro Arándanos 4x120g</c:v>
                </c:pt>
                <c:pt idx="80">
                  <c:v>Carrefour Kefir Avena Nueces 4x125g</c:v>
                </c:pt>
                <c:pt idx="81">
                  <c:v>Kaiku Natural Sin Lactose 4x125g</c:v>
                </c:pt>
                <c:pt idx="82">
                  <c:v>Reina Mousse Chocolate 2x100g</c:v>
                </c:pt>
                <c:pt idx="83">
                  <c:v>Activia Kefir 600ml</c:v>
                </c:pt>
                <c:pt idx="84">
                  <c:v>La Fageda Natural Azucarado 4x125g</c:v>
                </c:pt>
                <c:pt idx="85">
                  <c:v>Nestlé Kefir 150g</c:v>
                </c:pt>
                <c:pt idx="86">
                  <c:v>Danone Choco Flakes 102g</c:v>
                </c:pt>
                <c:pt idx="87">
                  <c:v>Valio Profeel Chocolate 180g</c:v>
                </c:pt>
              </c:strCache>
            </c:strRef>
          </c:cat>
          <c:val>
            <c:numRef>
              <c:f>Sheet1!$B$2:$B$89</c:f>
              <c:numCache>
                <c:formatCode>General</c:formatCode>
                <c:ptCount val="88"/>
                <c:pt idx="0">
                  <c:v>0.0894980481496155</c:v>
                </c:pt>
                <c:pt idx="1">
                  <c:v>0.07011739485806326</c:v>
                </c:pt>
                <c:pt idx="2">
                  <c:v>0.06080494447992201</c:v>
                </c:pt>
                <c:pt idx="3">
                  <c:v>0.057505414477574866</c:v>
                </c:pt>
                <c:pt idx="4">
                  <c:v>0.045795273573087235</c:v>
                </c:pt>
                <c:pt idx="5">
                  <c:v>0.03670503586267117</c:v>
                </c:pt>
                <c:pt idx="6">
                  <c:v>0.0324581736438425</c:v>
                </c:pt>
                <c:pt idx="7">
                  <c:v>0.0323989116291776</c:v>
                </c:pt>
                <c:pt idx="8">
                  <c:v>0.030997136632439668</c:v>
                </c:pt>
                <c:pt idx="9">
                  <c:v>0.030053786196508215</c:v>
                </c:pt>
                <c:pt idx="10">
                  <c:v>0.023645098369577667</c:v>
                </c:pt>
                <c:pt idx="11">
                  <c:v>0.020884737227532077</c:v>
                </c:pt>
                <c:pt idx="12">
                  <c:v>0.018928148350459056</c:v>
                </c:pt>
                <c:pt idx="13">
                  <c:v>0.01691220030481729</c:v>
                </c:pt>
                <c:pt idx="14">
                  <c:v>0.015984061365526745</c:v>
                </c:pt>
                <c:pt idx="15">
                  <c:v>0.015372786311558657</c:v>
                </c:pt>
                <c:pt idx="16">
                  <c:v>0.015108742920166245</c:v>
                </c:pt>
                <c:pt idx="17">
                  <c:v>0.014787487616036944</c:v>
                </c:pt>
                <c:pt idx="18">
                  <c:v>0.013824436989457439</c:v>
                </c:pt>
                <c:pt idx="19">
                  <c:v>0.013031402362359463</c:v>
                </c:pt>
                <c:pt idx="20">
                  <c:v>0.012781705394259053</c:v>
                </c:pt>
                <c:pt idx="21">
                  <c:v>0.011405105420111984</c:v>
                </c:pt>
                <c:pt idx="22">
                  <c:v>0.011403591778328495</c:v>
                </c:pt>
                <c:pt idx="23">
                  <c:v>0.011293613053672982</c:v>
                </c:pt>
                <c:pt idx="24">
                  <c:v>0.010067822880667652</c:v>
                </c:pt>
                <c:pt idx="25">
                  <c:v>0.009891257918160394</c:v>
                </c:pt>
                <c:pt idx="26">
                  <c:v>0.009739515428592594</c:v>
                </c:pt>
                <c:pt idx="27">
                  <c:v>0.00963841351912955</c:v>
                </c:pt>
                <c:pt idx="28">
                  <c:v>0.009487524199553708</c:v>
                </c:pt>
                <c:pt idx="29">
                  <c:v>0.008469839500906445</c:v>
                </c:pt>
                <c:pt idx="30">
                  <c:v>0.008299049268978703</c:v>
                </c:pt>
                <c:pt idx="31">
                  <c:v>0.007760594454562688</c:v>
                </c:pt>
                <c:pt idx="32">
                  <c:v>0.007328992764603953</c:v>
                </c:pt>
                <c:pt idx="33">
                  <c:v>0.007294023333850925</c:v>
                </c:pt>
                <c:pt idx="34">
                  <c:v>0.007269416424404448</c:v>
                </c:pt>
                <c:pt idx="35">
                  <c:v>0.0072344740930623</c:v>
                </c:pt>
                <c:pt idx="36">
                  <c:v>0.007163264230177134</c:v>
                </c:pt>
                <c:pt idx="37">
                  <c:v>0.007105109471547496</c:v>
                </c:pt>
                <c:pt idx="38">
                  <c:v>0.006965709035438449</c:v>
                </c:pt>
                <c:pt idx="39">
                  <c:v>0.006906316274668641</c:v>
                </c:pt>
                <c:pt idx="40">
                  <c:v>0.006845467112660584</c:v>
                </c:pt>
                <c:pt idx="41">
                  <c:v>0.006560793120343837</c:v>
                </c:pt>
                <c:pt idx="42">
                  <c:v>0.006303816894989288</c:v>
                </c:pt>
                <c:pt idx="43">
                  <c:v>0.006201690513891891</c:v>
                </c:pt>
                <c:pt idx="44">
                  <c:v>0.0060110563126735085</c:v>
                </c:pt>
                <c:pt idx="45">
                  <c:v>0.005990642804989448</c:v>
                </c:pt>
                <c:pt idx="46">
                  <c:v>0.005742267963345103</c:v>
                </c:pt>
                <c:pt idx="47">
                  <c:v>0.005713579207653823</c:v>
                </c:pt>
                <c:pt idx="48">
                  <c:v>0.0056025635611235735</c:v>
                </c:pt>
                <c:pt idx="49">
                  <c:v>0.005288179653377667</c:v>
                </c:pt>
                <c:pt idx="50">
                  <c:v>0.00504745082332302</c:v>
                </c:pt>
                <c:pt idx="51">
                  <c:v>0.0047263581251892044</c:v>
                </c:pt>
                <c:pt idx="52">
                  <c:v>0.004662872682239811</c:v>
                </c:pt>
                <c:pt idx="53">
                  <c:v>0.004552724112846591</c:v>
                </c:pt>
                <c:pt idx="54">
                  <c:v>0.004522738881963321</c:v>
                </c:pt>
                <c:pt idx="55">
                  <c:v>0.0043739134476141325</c:v>
                </c:pt>
                <c:pt idx="56">
                  <c:v>0.004278942112835284</c:v>
                </c:pt>
                <c:pt idx="57">
                  <c:v>0.004146523994508354</c:v>
                </c:pt>
                <c:pt idx="58">
                  <c:v>0.004051242847772492</c:v>
                </c:pt>
                <c:pt idx="59">
                  <c:v>0.0038017772133973793</c:v>
                </c:pt>
                <c:pt idx="60">
                  <c:v>0.003734490962071925</c:v>
                </c:pt>
                <c:pt idx="61">
                  <c:v>0.003707449776232005</c:v>
                </c:pt>
                <c:pt idx="62">
                  <c:v>0.0034735791143492754</c:v>
                </c:pt>
                <c:pt idx="63">
                  <c:v>0.0033103179895649193</c:v>
                </c:pt>
                <c:pt idx="64">
                  <c:v>0.003295189828981045</c:v>
                </c:pt>
                <c:pt idx="65">
                  <c:v>0.003281779338247206</c:v>
                </c:pt>
                <c:pt idx="66">
                  <c:v>0.003072278452936094</c:v>
                </c:pt>
                <c:pt idx="67">
                  <c:v>0.0030295420826380636</c:v>
                </c:pt>
                <c:pt idx="68">
                  <c:v>0.0029882880707965817</c:v>
                </c:pt>
                <c:pt idx="69">
                  <c:v>0.0029649670019287</c:v>
                </c:pt>
                <c:pt idx="70">
                  <c:v>0.002701196446713804</c:v>
                </c:pt>
                <c:pt idx="71">
                  <c:v>0.0026593941610428243</c:v>
                </c:pt>
                <c:pt idx="72">
                  <c:v>0.0024353449656256652</c:v>
                </c:pt>
                <c:pt idx="73">
                  <c:v>0.0023505486548572397</c:v>
                </c:pt>
                <c:pt idx="74">
                  <c:v>0.0020718518643644017</c:v>
                </c:pt>
                <c:pt idx="75">
                  <c:v>0.002057480128345472</c:v>
                </c:pt>
                <c:pt idx="76">
                  <c:v>0.001833075751372621</c:v>
                </c:pt>
                <c:pt idx="77">
                  <c:v>0.0018093958238849333</c:v>
                </c:pt>
                <c:pt idx="78">
                  <c:v>0.0017941127519591053</c:v>
                </c:pt>
                <c:pt idx="79">
                  <c:v>0.0015843132547459589</c:v>
                </c:pt>
                <c:pt idx="80">
                  <c:v>0.0014415019232199584</c:v>
                </c:pt>
                <c:pt idx="81">
                  <c:v>0.0013236895399010408</c:v>
                </c:pt>
                <c:pt idx="82">
                  <c:v>0.0012930437258290783</c:v>
                </c:pt>
                <c:pt idx="83">
                  <c:v>0.0012182068823417861</c:v>
                </c:pt>
                <c:pt idx="84">
                  <c:v>0.001066461450685136</c:v>
                </c:pt>
                <c:pt idx="85">
                  <c:v>0.0009598225112511364</c:v>
                </c:pt>
                <c:pt idx="86">
                  <c:v>0.0009121357695438942</c:v>
                </c:pt>
                <c:pt idx="87">
                  <c:v>0.0008873806247606217</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Oikos Griego Natural 500g</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C00000"/>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r>
                      <a:rPr sz="500">
                        <a:solidFill>
                          <a:srgbClr val="C00000"/>
                        </a:solidFill>
                      </a:rPr>
                      <a:t>Oikos Griego Natural 50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9</c:f>
              <c:strCache>
                <c:ptCount val="88"/>
                <c:pt idx="0">
                  <c:v>Carrefour Natural 8x125g</c:v>
                </c:pt>
                <c:pt idx="1">
                  <c:v>Danone Fresa 4x120g</c:v>
                </c:pt>
                <c:pt idx="2">
                  <c:v>Carrefour Griego Natural 6x125g</c:v>
                </c:pt>
                <c:pt idx="3">
                  <c:v>Carrefour Sabores Mix 16x125g</c:v>
                </c:pt>
                <c:pt idx="4">
                  <c:v>Carrefour Griego Natural 1000g</c:v>
                </c:pt>
                <c:pt idx="5">
                  <c:v>Danone Natural 8x120g</c:v>
                </c:pt>
                <c:pt idx="6">
                  <c:v>Carrefour Griego Stracciatella 6x125g</c:v>
                </c:pt>
                <c:pt idx="7">
                  <c:v>Carrefour Griego Fresa 6x125g</c:v>
                </c:pt>
                <c:pt idx="8">
                  <c:v>Alpro Coco 400g</c:v>
                </c:pt>
                <c:pt idx="9">
                  <c:v>Carrefour L-Casei Fresa/Plátano y Piña/Coco 12x100g</c:v>
                </c:pt>
                <c:pt idx="10">
                  <c:v>Activia Natural 0% 8x120g</c:v>
                </c:pt>
                <c:pt idx="11">
                  <c:v>Actimel Fresa 6x100g</c:v>
                </c:pt>
                <c:pt idx="12">
                  <c:v>Carrefour Kefir 500g</c:v>
                </c:pt>
                <c:pt idx="13">
                  <c:v>Carrefour Fresa &amp; Plátano 8x125g</c:v>
                </c:pt>
                <c:pt idx="14">
                  <c:v>Carrefour Bifidus Fresa 0% 4x125g</c:v>
                </c:pt>
                <c:pt idx="15">
                  <c:v>Danone Mix Coco/Fresa/Frutos del Bosque/Macedoine 8x120g</c:v>
                </c:pt>
                <c:pt idx="16">
                  <c:v>Activia Natural 0% 16x120g</c:v>
                </c:pt>
                <c:pt idx="17">
                  <c:v>Activia Melocotón 0% 4x120g</c:v>
                </c:pt>
                <c:pt idx="18">
                  <c:v>Activia Natural 8x120g</c:v>
                </c:pt>
                <c:pt idx="19">
                  <c:v>Oikos Griego Natural 4x110g</c:v>
                </c:pt>
                <c:pt idx="20">
                  <c:v>Carrefour Natural 0% 6x125g</c:v>
                </c:pt>
                <c:pt idx="21">
                  <c:v>Vitalinea Fresa 0% 4x120g</c:v>
                </c:pt>
                <c:pt idx="22">
                  <c:v>Danone Griego Stracciatella 4x110g</c:v>
                </c:pt>
                <c:pt idx="23">
                  <c:v>Activia Cremoso Fresa 4x115g</c:v>
                </c:pt>
                <c:pt idx="24">
                  <c:v>Danone Proteína Stracciatella 4x105g</c:v>
                </c:pt>
                <c:pt idx="25">
                  <c:v>Danacol Limón 6x100g</c:v>
                </c:pt>
                <c:pt idx="26">
                  <c:v>Oikos Griego Fresa 4x110g</c:v>
                </c:pt>
                <c:pt idx="27">
                  <c:v>Activia Avena Nueces 4x115g</c:v>
                </c:pt>
                <c:pt idx="28">
                  <c:v>Danone Griego Natural 4x110g</c:v>
                </c:pt>
                <c:pt idx="29">
                  <c:v>La Lechera Fresa 2x125g</c:v>
                </c:pt>
                <c:pt idx="30">
                  <c:v>Carrefour Fresa 0% 6x125g</c:v>
                </c:pt>
                <c:pt idx="31">
                  <c:v>Activia Natural 0% 4x120g</c:v>
                </c:pt>
                <c:pt idx="32">
                  <c:v>Carrefour Bifidus Natural 0% 6x125g</c:v>
                </c:pt>
                <c:pt idx="33">
                  <c:v>Carrefour Sabores Mix 12x125g</c:v>
                </c:pt>
                <c:pt idx="34">
                  <c:v>Danonino Fresa 4x100g</c:v>
                </c:pt>
                <c:pt idx="35">
                  <c:v>Carrefour Proteína Plátano 400g</c:v>
                </c:pt>
                <c:pt idx="36">
                  <c:v>Actimel Natural 0% 6x100g</c:v>
                </c:pt>
                <c:pt idx="37">
                  <c:v>Carrefour Bifidus Muesli 0% 4x125g</c:v>
                </c:pt>
                <c:pt idx="38">
                  <c:v>YoPro Fresa 300g</c:v>
                </c:pt>
                <c:pt idx="39">
                  <c:v>Carrefour Bifidus Frutos Rojos 4x125g</c:v>
                </c:pt>
                <c:pt idx="40">
                  <c:v>Danonino Fresa 6x50g</c:v>
                </c:pt>
                <c:pt idx="41">
                  <c:v>Danacol Natural 6x100g</c:v>
                </c:pt>
                <c:pt idx="42">
                  <c:v>Carrefour Kefir Mango Líquido 500g</c:v>
                </c:pt>
                <c:pt idx="43">
                  <c:v>Activia Cremoso Lima/Limón 4x115g</c:v>
                </c:pt>
                <c:pt idx="44">
                  <c:v>Carrefour Natural Líquido 500g</c:v>
                </c:pt>
                <c:pt idx="45">
                  <c:v>Carrefour Petit Fresa y Plátano 12x60g</c:v>
                </c:pt>
                <c:pt idx="46">
                  <c:v>Carrefour Actuàlcol Tropical 8x100g</c:v>
                </c:pt>
                <c:pt idx="47">
                  <c:v>El Pastoret Melocotón y Maracuyá 500g</c:v>
                </c:pt>
                <c:pt idx="48">
                  <c:v>Carrefour L-Casei Fresa 0% 6x100g</c:v>
                </c:pt>
                <c:pt idx="49">
                  <c:v>El Pastoret Kefir Natural 500g</c:v>
                </c:pt>
                <c:pt idx="50">
                  <c:v>Danone Proteína Fresa 0% 270g</c:v>
                </c:pt>
                <c:pt idx="51">
                  <c:v>Alpro Skyr Fresa 400g</c:v>
                </c:pt>
                <c:pt idx="52">
                  <c:v>Actimel Natural 12x100g</c:v>
                </c:pt>
                <c:pt idx="53">
                  <c:v>Danonino Fresa 4x70g</c:v>
                </c:pt>
                <c:pt idx="54">
                  <c:v>Nestlé Kefir Natural 6x100g</c:v>
                </c:pt>
                <c:pt idx="55">
                  <c:v>Danone Proteína Chocolate 4x120g</c:v>
                </c:pt>
                <c:pt idx="56">
                  <c:v>Activia Muesli 0% 4x115g</c:v>
                </c:pt>
                <c:pt idx="57">
                  <c:v>Carrefour Kefir Natural 4x125g</c:v>
                </c:pt>
                <c:pt idx="58">
                  <c:v>Danacol Natural 12x100g</c:v>
                </c:pt>
                <c:pt idx="59">
                  <c:v>Carrefour Soja Natural 6x100g</c:v>
                </c:pt>
                <c:pt idx="60">
                  <c:v>YoPro Pudding Chocolate 180g</c:v>
                </c:pt>
                <c:pt idx="61">
                  <c:v>Oikos Griego Natural 900g</c:v>
                </c:pt>
                <c:pt idx="62">
                  <c:v>Danone Original Fresa 2x130g</c:v>
                </c:pt>
                <c:pt idx="63">
                  <c:v>Nestlé Nesquik 6x60g</c:v>
                </c:pt>
                <c:pt idx="64">
                  <c:v>Activia Piña 0% 4x120g</c:v>
                </c:pt>
                <c:pt idx="65">
                  <c:v>Danone Griego Manzana Canela 4x110g</c:v>
                </c:pt>
                <c:pt idx="66">
                  <c:v>Oikos Griego Natural 500g</c:v>
                </c:pt>
                <c:pt idx="67">
                  <c:v>Oikos Griego Caramelo 2x110g</c:v>
                </c:pt>
                <c:pt idx="68">
                  <c:v>Nestlé Kit Kat 2x115g</c:v>
                </c:pt>
                <c:pt idx="69">
                  <c:v>Carrefour Flan Huevo Proteico 2x160g</c:v>
                </c:pt>
                <c:pt idx="70">
                  <c:v>Alpro Arándanos/Fruitas Rojos 4x125g</c:v>
                </c:pt>
                <c:pt idx="71">
                  <c:v>La Fageda Natural 4x125g</c:v>
                </c:pt>
                <c:pt idx="72">
                  <c:v>Carrefour Pudding Chocolate 200g</c:v>
                </c:pt>
                <c:pt idx="73">
                  <c:v>Danone Original 2x130g</c:v>
                </c:pt>
                <c:pt idx="74">
                  <c:v>Activia Kefir Natural 345g</c:v>
                </c:pt>
                <c:pt idx="75">
                  <c:v>Activia Kefir Arándanos 320g</c:v>
                </c:pt>
                <c:pt idx="76">
                  <c:v>Nestlé Smarties 2x128g</c:v>
                </c:pt>
                <c:pt idx="77">
                  <c:v>Alpro Postre Chocolate Negro 4x125g</c:v>
                </c:pt>
                <c:pt idx="78">
                  <c:v>Carrefour Skyr Natural 150g</c:v>
                </c:pt>
                <c:pt idx="79">
                  <c:v>YoPro Natural 480g</c:v>
                </c:pt>
                <c:pt idx="80">
                  <c:v>YoPro Arándanos 4x120g</c:v>
                </c:pt>
                <c:pt idx="81">
                  <c:v>Carrefour Kefir Avena Nueces 4x125g</c:v>
                </c:pt>
                <c:pt idx="82">
                  <c:v>Kaiku Natural Sin Lactose 4x125g</c:v>
                </c:pt>
                <c:pt idx="83">
                  <c:v>Reina Mousse Chocolate 2x100g</c:v>
                </c:pt>
                <c:pt idx="84">
                  <c:v>La Fageda Natural Azucarado 4x125g</c:v>
                </c:pt>
                <c:pt idx="85">
                  <c:v>Nestlé Kefir 150g</c:v>
                </c:pt>
                <c:pt idx="86">
                  <c:v>Danone Choco Flakes 102g</c:v>
                </c:pt>
                <c:pt idx="87">
                  <c:v>Valio Profeel Chocolate 180g</c:v>
                </c:pt>
              </c:strCache>
            </c:strRef>
          </c:cat>
          <c:val>
            <c:numRef>
              <c:f>Sheet1!$B$2:$B$89</c:f>
              <c:numCache>
                <c:formatCode>General</c:formatCode>
                <c:ptCount val="88"/>
                <c:pt idx="0">
                  <c:v>0.08936047240868814</c:v>
                </c:pt>
                <c:pt idx="1">
                  <c:v>0.07005572996417118</c:v>
                </c:pt>
                <c:pt idx="2">
                  <c:v>0.060574908898359224</c:v>
                </c:pt>
                <c:pt idx="3">
                  <c:v>0.05748639022149009</c:v>
                </c:pt>
                <c:pt idx="4">
                  <c:v>0.045376217284133</c:v>
                </c:pt>
                <c:pt idx="5">
                  <c:v>0.03664232447202699</c:v>
                </c:pt>
                <c:pt idx="6">
                  <c:v>0.032427257421719966</c:v>
                </c:pt>
                <c:pt idx="7">
                  <c:v>0.03237137958044703</c:v>
                </c:pt>
                <c:pt idx="8">
                  <c:v>0.030933204287026818</c:v>
                </c:pt>
                <c:pt idx="9">
                  <c:v>0.030020262263242198</c:v>
                </c:pt>
                <c:pt idx="10">
                  <c:v>0.023656796247036076</c:v>
                </c:pt>
                <c:pt idx="11">
                  <c:v>0.020864108570573303</c:v>
                </c:pt>
                <c:pt idx="12">
                  <c:v>0.01884763866152816</c:v>
                </c:pt>
                <c:pt idx="13">
                  <c:v>0.016905844261526443</c:v>
                </c:pt>
                <c:pt idx="14">
                  <c:v>0.01597644042449674</c:v>
                </c:pt>
                <c:pt idx="15">
                  <c:v>0.015360270927599989</c:v>
                </c:pt>
                <c:pt idx="16">
                  <c:v>0.015130354786176865</c:v>
                </c:pt>
                <c:pt idx="17">
                  <c:v>0.014785688400908239</c:v>
                </c:pt>
                <c:pt idx="18">
                  <c:v>0.013850018048299106</c:v>
                </c:pt>
                <c:pt idx="19">
                  <c:v>0.012849515384892226</c:v>
                </c:pt>
                <c:pt idx="20">
                  <c:v>0.012762133480529332</c:v>
                </c:pt>
                <c:pt idx="21">
                  <c:v>0.011406707851091621</c:v>
                </c:pt>
                <c:pt idx="22">
                  <c:v>0.011389629906876454</c:v>
                </c:pt>
                <c:pt idx="23">
                  <c:v>0.011287013721420169</c:v>
                </c:pt>
                <c:pt idx="24">
                  <c:v>0.010045676127417483</c:v>
                </c:pt>
                <c:pt idx="25">
                  <c:v>0.009901389181612414</c:v>
                </c:pt>
                <c:pt idx="26">
                  <c:v>0.009671252843276058</c:v>
                </c:pt>
                <c:pt idx="27">
                  <c:v>0.009624927864931535</c:v>
                </c:pt>
                <c:pt idx="28">
                  <c:v>0.00945483649868536</c:v>
                </c:pt>
                <c:pt idx="29">
                  <c:v>0.00845196272405461</c:v>
                </c:pt>
                <c:pt idx="30">
                  <c:v>0.008294080873427768</c:v>
                </c:pt>
                <c:pt idx="31">
                  <c:v>0.007766370116946288</c:v>
                </c:pt>
                <c:pt idx="32">
                  <c:v>0.007327253600891532</c:v>
                </c:pt>
                <c:pt idx="33">
                  <c:v>0.00726904455087874</c:v>
                </c:pt>
                <c:pt idx="34">
                  <c:v>0.007268210734335414</c:v>
                </c:pt>
                <c:pt idx="35">
                  <c:v>0.007225599909985767</c:v>
                </c:pt>
                <c:pt idx="36">
                  <c:v>0.007157823015653257</c:v>
                </c:pt>
                <c:pt idx="37">
                  <c:v>0.007101957951267916</c:v>
                </c:pt>
                <c:pt idx="38">
                  <c:v>0.006961928460958469</c:v>
                </c:pt>
                <c:pt idx="39">
                  <c:v>0.006901737970477213</c:v>
                </c:pt>
                <c:pt idx="40">
                  <c:v>0.006830429763287776</c:v>
                </c:pt>
                <c:pt idx="41">
                  <c:v>0.006569400406448738</c:v>
                </c:pt>
                <c:pt idx="42">
                  <c:v>0.006286652161026737</c:v>
                </c:pt>
                <c:pt idx="43">
                  <c:v>0.0062052628218349955</c:v>
                </c:pt>
                <c:pt idx="44">
                  <c:v>0.006004636555371661</c:v>
                </c:pt>
                <c:pt idx="45">
                  <c:v>0.005985360266575982</c:v>
                </c:pt>
                <c:pt idx="46">
                  <c:v>0.005715991418213417</c:v>
                </c:pt>
                <c:pt idx="47">
                  <c:v>0.005696859211252169</c:v>
                </c:pt>
                <c:pt idx="48">
                  <c:v>0.005595401824204326</c:v>
                </c:pt>
                <c:pt idx="49">
                  <c:v>0.005202552552917628</c:v>
                </c:pt>
                <c:pt idx="50">
                  <c:v>0.0050455344972481775</c:v>
                </c:pt>
                <c:pt idx="51">
                  <c:v>0.004716743402480615</c:v>
                </c:pt>
                <c:pt idx="52">
                  <c:v>0.004654337590788777</c:v>
                </c:pt>
                <c:pt idx="53">
                  <c:v>0.004550189020516544</c:v>
                </c:pt>
                <c:pt idx="54">
                  <c:v>0.004510913695059874</c:v>
                </c:pt>
                <c:pt idx="55">
                  <c:v>0.004373879142776074</c:v>
                </c:pt>
                <c:pt idx="56">
                  <c:v>0.004276946263525287</c:v>
                </c:pt>
                <c:pt idx="57">
                  <c:v>0.004106047234082523</c:v>
                </c:pt>
                <c:pt idx="58">
                  <c:v>0.004049468395570413</c:v>
                </c:pt>
                <c:pt idx="59">
                  <c:v>0.0038007499628255467</c:v>
                </c:pt>
                <c:pt idx="60">
                  <c:v>0.003733682546852843</c:v>
                </c:pt>
                <c:pt idx="61">
                  <c:v>0.0036399260935784604</c:v>
                </c:pt>
                <c:pt idx="62">
                  <c:v>0.0034648596889560084</c:v>
                </c:pt>
                <c:pt idx="63">
                  <c:v>0.0033027114916863863</c:v>
                </c:pt>
                <c:pt idx="64">
                  <c:v>0.00329634226569698</c:v>
                </c:pt>
                <c:pt idx="65">
                  <c:v>0.0032765599630977197</c:v>
                </c:pt>
                <c:pt idx="66">
                  <c:v>0.0032150558880630047</c:v>
                </c:pt>
                <c:pt idx="67">
                  <c:v>0.003058869468944836</c:v>
                </c:pt>
                <c:pt idx="68">
                  <c:v>0.003027190811579602</c:v>
                </c:pt>
                <c:pt idx="69">
                  <c:v>0.0029857147393756263</c:v>
                </c:pt>
                <c:pt idx="70">
                  <c:v>0.0029551712886413976</c:v>
                </c:pt>
                <c:pt idx="71">
                  <c:v>0.0026938504943630165</c:v>
                </c:pt>
                <c:pt idx="72">
                  <c:v>0.0026551222545822114</c:v>
                </c:pt>
                <c:pt idx="73">
                  <c:v>0.002423789094891091</c:v>
                </c:pt>
                <c:pt idx="74">
                  <c:v>0.0023479642492264287</c:v>
                </c:pt>
                <c:pt idx="75">
                  <c:v>0.0020750582563115456</c:v>
                </c:pt>
                <c:pt idx="76">
                  <c:v>0.002053869093924675</c:v>
                </c:pt>
                <c:pt idx="77">
                  <c:v>0.0018309120705018629</c:v>
                </c:pt>
                <c:pt idx="78">
                  <c:v>0.0018062991274647344</c:v>
                </c:pt>
                <c:pt idx="79">
                  <c:v>0.0017893531206753062</c:v>
                </c:pt>
                <c:pt idx="80">
                  <c:v>0.0015781258242508114</c:v>
                </c:pt>
                <c:pt idx="81">
                  <c:v>0.0014372280961555631</c:v>
                </c:pt>
                <c:pt idx="82">
                  <c:v>0.0013226860769403233</c:v>
                </c:pt>
                <c:pt idx="83">
                  <c:v>0.0012912395175107086</c:v>
                </c:pt>
                <c:pt idx="84">
                  <c:v>0.0010625800708476407</c:v>
                </c:pt>
                <c:pt idx="85">
                  <c:v>0.0009559811645009877</c:v>
                </c:pt>
                <c:pt idx="86">
                  <c:v>0.0009101686074812293</c:v>
                </c:pt>
                <c:pt idx="87">
                  <c:v>0.0008879725488331209</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YoPro Energia/Cafeina 500ml</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C00000"/>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r>
                      <a:rPr sz="500">
                        <a:solidFill>
                          <a:srgbClr val="C00000"/>
                        </a:solidFill>
                      </a:rPr>
                      <a:t>YoPro Energia/Cafeina 5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9</c:f>
              <c:strCache>
                <c:ptCount val="88"/>
                <c:pt idx="0">
                  <c:v>Carrefour Natural 8x125g</c:v>
                </c:pt>
                <c:pt idx="1">
                  <c:v>Danone Fresa 4x120g</c:v>
                </c:pt>
                <c:pt idx="2">
                  <c:v>Carrefour Griego Natural 6x125g</c:v>
                </c:pt>
                <c:pt idx="3">
                  <c:v>Carrefour Sabores Mix 16x125g</c:v>
                </c:pt>
                <c:pt idx="4">
                  <c:v>Carrefour Griego Natural 1000g</c:v>
                </c:pt>
                <c:pt idx="5">
                  <c:v>Danone Natural 8x120g</c:v>
                </c:pt>
                <c:pt idx="6">
                  <c:v>Carrefour Griego Stracciatella 6x125g</c:v>
                </c:pt>
                <c:pt idx="7">
                  <c:v>Carrefour Griego Fresa 6x125g</c:v>
                </c:pt>
                <c:pt idx="8">
                  <c:v>Alpro Coco 400g</c:v>
                </c:pt>
                <c:pt idx="9">
                  <c:v>Carrefour L-Casei Fresa/Plátano y Piña/Coco 12x100g</c:v>
                </c:pt>
                <c:pt idx="10">
                  <c:v>Activia Natural 0% 8x120g</c:v>
                </c:pt>
                <c:pt idx="11">
                  <c:v>Actimel Fresa 6x100g</c:v>
                </c:pt>
                <c:pt idx="12">
                  <c:v>Carrefour Kefir 500g</c:v>
                </c:pt>
                <c:pt idx="13">
                  <c:v>Carrefour Fresa &amp; Plátano 8x125g</c:v>
                </c:pt>
                <c:pt idx="14">
                  <c:v>Carrefour Bifidus Fresa 0% 4x125g</c:v>
                </c:pt>
                <c:pt idx="15">
                  <c:v>Danone Mix Coco/Fresa/Frutos del Bosque/Macedoine 8x120g</c:v>
                </c:pt>
                <c:pt idx="16">
                  <c:v>Activia Natural 0% 16x120g</c:v>
                </c:pt>
                <c:pt idx="17">
                  <c:v>Activia Melocotón 0% 4x120g</c:v>
                </c:pt>
                <c:pt idx="18">
                  <c:v>Activia Natural 8x120g</c:v>
                </c:pt>
                <c:pt idx="19">
                  <c:v>Oikos Griego Natural 4x110g</c:v>
                </c:pt>
                <c:pt idx="20">
                  <c:v>Carrefour Natural 0% 6x125g</c:v>
                </c:pt>
                <c:pt idx="21">
                  <c:v>Vitalinea Fresa 0% 4x120g</c:v>
                </c:pt>
                <c:pt idx="22">
                  <c:v>Danone Griego Stracciatella 4x110g</c:v>
                </c:pt>
                <c:pt idx="23">
                  <c:v>Activia Cremoso Fresa 4x115g</c:v>
                </c:pt>
                <c:pt idx="24">
                  <c:v>Danone Proteína Stracciatella 4x105g</c:v>
                </c:pt>
                <c:pt idx="25">
                  <c:v>Danacol Limón 6x100g</c:v>
                </c:pt>
                <c:pt idx="26">
                  <c:v>Oikos Griego Fresa 4x110g</c:v>
                </c:pt>
                <c:pt idx="27">
                  <c:v>Activia Avena Nueces 4x115g</c:v>
                </c:pt>
                <c:pt idx="28">
                  <c:v>Danone Griego Natural 4x110g</c:v>
                </c:pt>
                <c:pt idx="29">
                  <c:v>La Lechera Fresa 2x125g</c:v>
                </c:pt>
                <c:pt idx="30">
                  <c:v>Carrefour Fresa 0% 6x125g</c:v>
                </c:pt>
                <c:pt idx="31">
                  <c:v>Activia Natural 0% 4x120g</c:v>
                </c:pt>
                <c:pt idx="32">
                  <c:v>Carrefour Bifidus Natural 0% 6x125g</c:v>
                </c:pt>
                <c:pt idx="33">
                  <c:v>Danonino Fresa 4x100g</c:v>
                </c:pt>
                <c:pt idx="34">
                  <c:v>Carrefour Sabores Mix 12x125g</c:v>
                </c:pt>
                <c:pt idx="35">
                  <c:v>Carrefour Proteína Plátano 400g</c:v>
                </c:pt>
                <c:pt idx="36">
                  <c:v>Actimel Natural 0% 6x100g</c:v>
                </c:pt>
                <c:pt idx="37">
                  <c:v>Carrefour Bifidus Muesli 0% 4x125g</c:v>
                </c:pt>
                <c:pt idx="38">
                  <c:v>YoPro Fresa 300g</c:v>
                </c:pt>
                <c:pt idx="39">
                  <c:v>Carrefour Bifidus Frutos Rojos 4x125g</c:v>
                </c:pt>
                <c:pt idx="40">
                  <c:v>Danonino Fresa 6x50g</c:v>
                </c:pt>
                <c:pt idx="41">
                  <c:v>Danacol Natural 6x100g</c:v>
                </c:pt>
                <c:pt idx="42">
                  <c:v>Carrefour Kefir Mango Líquido 500g</c:v>
                </c:pt>
                <c:pt idx="43">
                  <c:v>Activia Cremoso Lima/Limón 4x115g</c:v>
                </c:pt>
                <c:pt idx="44">
                  <c:v>Carrefour Natural Líquido 500g</c:v>
                </c:pt>
                <c:pt idx="45">
                  <c:v>Carrefour Petit Fresa y Plátano 12x60g</c:v>
                </c:pt>
                <c:pt idx="46">
                  <c:v>El Pastoret Melocotón y Maracuyá 500g</c:v>
                </c:pt>
                <c:pt idx="47">
                  <c:v>Carrefour Actuàlcol Tropical 8x100g</c:v>
                </c:pt>
                <c:pt idx="48">
                  <c:v>Carrefour L-Casei Fresa 0% 6x100g</c:v>
                </c:pt>
                <c:pt idx="49">
                  <c:v>El Pastoret Kefir Natural 500g</c:v>
                </c:pt>
                <c:pt idx="50">
                  <c:v>Danone Proteína Fresa 0% 270g</c:v>
                </c:pt>
                <c:pt idx="51">
                  <c:v>Alpro Skyr Fresa 400g</c:v>
                </c:pt>
                <c:pt idx="52">
                  <c:v>Actimel Natural 12x100g</c:v>
                </c:pt>
                <c:pt idx="53">
                  <c:v>Nestlé Kefir Natural 6x100g</c:v>
                </c:pt>
                <c:pt idx="54">
                  <c:v>Danonino Fresa 4x70g</c:v>
                </c:pt>
                <c:pt idx="55">
                  <c:v>Danone Proteína Chocolate 4x120g</c:v>
                </c:pt>
                <c:pt idx="56">
                  <c:v>Activia Muesli 0% 4x115g</c:v>
                </c:pt>
                <c:pt idx="57">
                  <c:v>Carrefour Kefir Natural 4x125g</c:v>
                </c:pt>
                <c:pt idx="58">
                  <c:v>Danacol Natural 12x100g</c:v>
                </c:pt>
                <c:pt idx="59">
                  <c:v>Carrefour Soja Natural 6x100g</c:v>
                </c:pt>
                <c:pt idx="60">
                  <c:v>YoPro Pudding Chocolate 180g</c:v>
                </c:pt>
                <c:pt idx="61">
                  <c:v>Oikos Griego Natural 900g</c:v>
                </c:pt>
                <c:pt idx="62">
                  <c:v>Danone Original Fresa 2x130g</c:v>
                </c:pt>
                <c:pt idx="63">
                  <c:v>Nestlé Nesquik 6x60g</c:v>
                </c:pt>
                <c:pt idx="64">
                  <c:v>Activia Piña 0% 4x120g</c:v>
                </c:pt>
                <c:pt idx="65">
                  <c:v>Danone Griego Manzana Canela 4x110g</c:v>
                </c:pt>
                <c:pt idx="66">
                  <c:v>Oikos Griego Caramelo 2x110g</c:v>
                </c:pt>
                <c:pt idx="67">
                  <c:v>Nestlé Kit Kat 2x115g</c:v>
                </c:pt>
                <c:pt idx="68">
                  <c:v>Carrefour Flan Huevo Proteico 2x160g</c:v>
                </c:pt>
                <c:pt idx="69">
                  <c:v>Alpro Arándanos/Fruitas Rojos 4x125g</c:v>
                </c:pt>
                <c:pt idx="70">
                  <c:v>La Fageda Natural 4x125g</c:v>
                </c:pt>
                <c:pt idx="71">
                  <c:v>Carrefour Pudding Chocolate 200g</c:v>
                </c:pt>
                <c:pt idx="72">
                  <c:v>YoPro Energia/Cafeina 500ml</c:v>
                </c:pt>
                <c:pt idx="73">
                  <c:v>Danone Original 2x130g</c:v>
                </c:pt>
                <c:pt idx="74">
                  <c:v>Activia Kefir Natural 345g</c:v>
                </c:pt>
                <c:pt idx="75">
                  <c:v>Activia Kefir Arándanos 320g</c:v>
                </c:pt>
                <c:pt idx="76">
                  <c:v>Nestlé Smarties 2x128g</c:v>
                </c:pt>
                <c:pt idx="77">
                  <c:v>Alpro Postre Chocolate Negro 4x125g</c:v>
                </c:pt>
                <c:pt idx="78">
                  <c:v>Carrefour Skyr Natural 150g</c:v>
                </c:pt>
                <c:pt idx="79">
                  <c:v>YoPro Natural 480g</c:v>
                </c:pt>
                <c:pt idx="80">
                  <c:v>YoPro Arándanos 4x120g</c:v>
                </c:pt>
                <c:pt idx="81">
                  <c:v>Carrefour Kefir Avena Nueces 4x125g</c:v>
                </c:pt>
                <c:pt idx="82">
                  <c:v>Kaiku Natural Sin Lactose 4x125g</c:v>
                </c:pt>
                <c:pt idx="83">
                  <c:v>Reina Mousse Chocolate 2x100g</c:v>
                </c:pt>
                <c:pt idx="84">
                  <c:v>La Fageda Natural Azucarado 4x125g</c:v>
                </c:pt>
                <c:pt idx="85">
                  <c:v>Nestlé Kefir 150g</c:v>
                </c:pt>
                <c:pt idx="86">
                  <c:v>Danone Choco Flakes 102g</c:v>
                </c:pt>
                <c:pt idx="87">
                  <c:v>Valio Profeel Chocolate 180g</c:v>
                </c:pt>
              </c:strCache>
            </c:strRef>
          </c:cat>
          <c:val>
            <c:numRef>
              <c:f>Sheet1!$B$2:$B$89</c:f>
              <c:numCache>
                <c:formatCode>General</c:formatCode>
                <c:ptCount val="88"/>
                <c:pt idx="0">
                  <c:v>0.08934097366841803</c:v>
                </c:pt>
                <c:pt idx="1">
                  <c:v>0.06998319263483342</c:v>
                </c:pt>
                <c:pt idx="2">
                  <c:v>0.060713669482040065</c:v>
                </c:pt>
                <c:pt idx="3">
                  <c:v>0.05740305811956809</c:v>
                </c:pt>
                <c:pt idx="4">
                  <c:v>0.04573682546183604</c:v>
                </c:pt>
                <c:pt idx="5">
                  <c:v>0.036654391643942824</c:v>
                </c:pt>
                <c:pt idx="6">
                  <c:v>0.03241137421261516</c:v>
                </c:pt>
                <c:pt idx="7">
                  <c:v>0.032343953027146356</c:v>
                </c:pt>
                <c:pt idx="8">
                  <c:v>0.030943771752783348</c:v>
                </c:pt>
                <c:pt idx="9">
                  <c:v>0.03000167112363297</c:v>
                </c:pt>
                <c:pt idx="10">
                  <c:v>0.023632850012391456</c:v>
                </c:pt>
                <c:pt idx="11">
                  <c:v>0.020853229790495226</c:v>
                </c:pt>
                <c:pt idx="12">
                  <c:v>0.018904229163157274</c:v>
                </c:pt>
                <c:pt idx="13">
                  <c:v>0.016886981939441777</c:v>
                </c:pt>
                <c:pt idx="14">
                  <c:v>0.015958943388627383</c:v>
                </c:pt>
                <c:pt idx="15">
                  <c:v>0.015342771763693431</c:v>
                </c:pt>
                <c:pt idx="16">
                  <c:v>0.01512282101645562</c:v>
                </c:pt>
                <c:pt idx="17">
                  <c:v>0.014770033887091805</c:v>
                </c:pt>
                <c:pt idx="18">
                  <c:v>0.013839175094480056</c:v>
                </c:pt>
                <c:pt idx="19">
                  <c:v>0.013031075531658165</c:v>
                </c:pt>
                <c:pt idx="20">
                  <c:v>0.012758496723377664</c:v>
                </c:pt>
                <c:pt idx="21">
                  <c:v>0.011387858166865297</c:v>
                </c:pt>
                <c:pt idx="22">
                  <c:v>0.011382602362747176</c:v>
                </c:pt>
                <c:pt idx="23">
                  <c:v>0.011285218617262267</c:v>
                </c:pt>
                <c:pt idx="24">
                  <c:v>0.010048888054960221</c:v>
                </c:pt>
                <c:pt idx="25">
                  <c:v>0.009885760392243039</c:v>
                </c:pt>
                <c:pt idx="26">
                  <c:v>0.00972952383948094</c:v>
                </c:pt>
                <c:pt idx="27">
                  <c:v>0.009624873434107395</c:v>
                </c:pt>
                <c:pt idx="28">
                  <c:v>0.009471118477076785</c:v>
                </c:pt>
                <c:pt idx="29">
                  <c:v>0.008453548484662886</c:v>
                </c:pt>
                <c:pt idx="30">
                  <c:v>0.008287627627755733</c:v>
                </c:pt>
                <c:pt idx="31">
                  <c:v>0.007763202712724749</c:v>
                </c:pt>
                <c:pt idx="32">
                  <c:v>0.007320019063591831</c:v>
                </c:pt>
                <c:pt idx="33">
                  <c:v>0.007280581663238685</c:v>
                </c:pt>
                <c:pt idx="34">
                  <c:v>0.0072617615138509325</c:v>
                </c:pt>
                <c:pt idx="35">
                  <c:v>0.0072184613714199935</c:v>
                </c:pt>
                <c:pt idx="36">
                  <c:v>0.0071656985466001044</c:v>
                </c:pt>
                <c:pt idx="37">
                  <c:v>0.00709593526139663</c:v>
                </c:pt>
                <c:pt idx="38">
                  <c:v>0.006948484701760945</c:v>
                </c:pt>
                <c:pt idx="39">
                  <c:v>0.0068943415737738115</c:v>
                </c:pt>
                <c:pt idx="40">
                  <c:v>0.006832802951077966</c:v>
                </c:pt>
                <c:pt idx="41">
                  <c:v>0.0065553334666168285</c:v>
                </c:pt>
                <c:pt idx="42">
                  <c:v>0.006296096762845606</c:v>
                </c:pt>
                <c:pt idx="43">
                  <c:v>0.0062003554354440405</c:v>
                </c:pt>
                <c:pt idx="44">
                  <c:v>0.006009799126687982</c:v>
                </c:pt>
                <c:pt idx="45">
                  <c:v>0.005980108756150988</c:v>
                </c:pt>
                <c:pt idx="46">
                  <c:v>0.0057356477676957125</c:v>
                </c:pt>
                <c:pt idx="47">
                  <c:v>0.005709691566840591</c:v>
                </c:pt>
                <c:pt idx="48">
                  <c:v>0.005593320377011897</c:v>
                </c:pt>
                <c:pt idx="49">
                  <c:v>0.005283189214605762</c:v>
                </c:pt>
                <c:pt idx="50">
                  <c:v>0.005039615084591196</c:v>
                </c:pt>
                <c:pt idx="51">
                  <c:v>0.00471788448533534</c:v>
                </c:pt>
                <c:pt idx="52">
                  <c:v>0.004656475004981044</c:v>
                </c:pt>
                <c:pt idx="53">
                  <c:v>0.004556792761925189</c:v>
                </c:pt>
                <c:pt idx="54">
                  <c:v>0.004548527969109677</c:v>
                </c:pt>
                <c:pt idx="55">
                  <c:v>0.004364908551342412</c:v>
                </c:pt>
                <c:pt idx="56">
                  <c:v>0.004279124896383139</c:v>
                </c:pt>
                <c:pt idx="57">
                  <c:v>0.004160204042056202</c:v>
                </c:pt>
                <c:pt idx="58">
                  <c:v>0.0040454957397366</c:v>
                </c:pt>
                <c:pt idx="59">
                  <c:v>0.0037941309699498047</c:v>
                </c:pt>
                <c:pt idx="60">
                  <c:v>0.003723354444890497</c:v>
                </c:pt>
                <c:pt idx="61">
                  <c:v>0.003702987837110149</c:v>
                </c:pt>
                <c:pt idx="62">
                  <c:v>0.0034679432097409614</c:v>
                </c:pt>
                <c:pt idx="63">
                  <c:v>0.003301941319394983</c:v>
                </c:pt>
                <c:pt idx="64">
                  <c:v>0.0032941742304337393</c:v>
                </c:pt>
                <c:pt idx="65">
                  <c:v>0.0032766879482222233</c:v>
                </c:pt>
                <c:pt idx="66">
                  <c:v>0.0030659034007905527</c:v>
                </c:pt>
                <c:pt idx="67">
                  <c:v>0.003022074625611722</c:v>
                </c:pt>
                <c:pt idx="68">
                  <c:v>0.0029798557161981308</c:v>
                </c:pt>
                <c:pt idx="69">
                  <c:v>0.002959958278218606</c:v>
                </c:pt>
                <c:pt idx="70">
                  <c:v>0.0026975145823154942</c:v>
                </c:pt>
                <c:pt idx="71">
                  <c:v>0.0026535790793977493</c:v>
                </c:pt>
                <c:pt idx="72">
                  <c:v>0.0025533378796078108</c:v>
                </c:pt>
                <c:pt idx="73">
                  <c:v>0.002431591962433645</c:v>
                </c:pt>
                <c:pt idx="74">
                  <c:v>0.002363389177662876</c:v>
                </c:pt>
                <c:pt idx="75">
                  <c:v>0.002078728730317727</c:v>
                </c:pt>
                <c:pt idx="76">
                  <c:v>0.0020517939245264212</c:v>
                </c:pt>
                <c:pt idx="77">
                  <c:v>0.0018290528274739217</c:v>
                </c:pt>
                <c:pt idx="78">
                  <c:v>0.0018042514221673132</c:v>
                </c:pt>
                <c:pt idx="79">
                  <c:v>0.0017919130048937055</c:v>
                </c:pt>
                <c:pt idx="80">
                  <c:v>0.001580455563601959</c:v>
                </c:pt>
                <c:pt idx="81">
                  <c:v>0.0014402871417328713</c:v>
                </c:pt>
                <c:pt idx="82">
                  <c:v>0.0013235312061487467</c:v>
                </c:pt>
                <c:pt idx="83">
                  <c:v>0.0012891704842380117</c:v>
                </c:pt>
                <c:pt idx="84">
                  <c:v>0.0010647542644590953</c:v>
                </c:pt>
                <c:pt idx="85">
                  <c:v>0.0009607824961657992</c:v>
                </c:pt>
                <c:pt idx="86">
                  <c:v>0.0009093522115869684</c:v>
                </c:pt>
                <c:pt idx="87">
                  <c:v>0.0008831327970646644</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YoPro Fresa 3+1x300g</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C00000"/>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r>
                      <a:rPr sz="500">
                        <a:solidFill>
                          <a:srgbClr val="C00000"/>
                        </a:solidFill>
                      </a:rPr>
                      <a:t>YoPro Fresa 3+1x30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9</c:f>
              <c:strCache>
                <c:ptCount val="88"/>
                <c:pt idx="0">
                  <c:v>Carrefour Natural 8x125g</c:v>
                </c:pt>
                <c:pt idx="1">
                  <c:v>Danone Fresa 4x120g</c:v>
                </c:pt>
                <c:pt idx="2">
                  <c:v>Carrefour Griego Natural 6x125g</c:v>
                </c:pt>
                <c:pt idx="3">
                  <c:v>Carrefour Sabores Mix 16x125g</c:v>
                </c:pt>
                <c:pt idx="4">
                  <c:v>Carrefour Griego Natural 1000g</c:v>
                </c:pt>
                <c:pt idx="5">
                  <c:v>Danone Natural 8x120g</c:v>
                </c:pt>
                <c:pt idx="6">
                  <c:v>Carrefour Griego Stracciatella 6x125g</c:v>
                </c:pt>
                <c:pt idx="7">
                  <c:v>Carrefour Griego Fresa 6x125g</c:v>
                </c:pt>
                <c:pt idx="8">
                  <c:v>Alpro Coco 400g</c:v>
                </c:pt>
                <c:pt idx="9">
                  <c:v>Carrefour L-Casei Fresa/Plátano y Piña/Coco 12x100g</c:v>
                </c:pt>
                <c:pt idx="10">
                  <c:v>Activia Natural 0% 8x120g</c:v>
                </c:pt>
                <c:pt idx="11">
                  <c:v>Actimel Fresa 6x100g</c:v>
                </c:pt>
                <c:pt idx="12">
                  <c:v>Carrefour Kefir 500g</c:v>
                </c:pt>
                <c:pt idx="13">
                  <c:v>Carrefour Fresa &amp; Plátano 8x125g</c:v>
                </c:pt>
                <c:pt idx="14">
                  <c:v>Carrefour Bifidus Fresa 0% 4x125g</c:v>
                </c:pt>
                <c:pt idx="15">
                  <c:v>Danone Mix Coco/Fresa/Frutos del Bosque/Macedoine 8x120g</c:v>
                </c:pt>
                <c:pt idx="16">
                  <c:v>Activia Natural 0% 16x120g</c:v>
                </c:pt>
                <c:pt idx="17">
                  <c:v>Activia Melocotón 0% 4x120g</c:v>
                </c:pt>
                <c:pt idx="18">
                  <c:v>Activia Natural 8x120g</c:v>
                </c:pt>
                <c:pt idx="19">
                  <c:v>Oikos Griego Natural 4x110g</c:v>
                </c:pt>
                <c:pt idx="20">
                  <c:v>Carrefour Natural 0% 6x125g</c:v>
                </c:pt>
                <c:pt idx="21">
                  <c:v>Vitalinea Fresa 0% 4x120g</c:v>
                </c:pt>
                <c:pt idx="22">
                  <c:v>Danone Griego Stracciatella 4x110g</c:v>
                </c:pt>
                <c:pt idx="23">
                  <c:v>Activia Cremoso Fresa 4x115g</c:v>
                </c:pt>
                <c:pt idx="24">
                  <c:v>Danone Proteína Stracciatella 4x105g</c:v>
                </c:pt>
                <c:pt idx="25">
                  <c:v>Danacol Limón 6x100g</c:v>
                </c:pt>
                <c:pt idx="26">
                  <c:v>Oikos Griego Fresa 4x110g</c:v>
                </c:pt>
                <c:pt idx="27">
                  <c:v>Activia Avena Nueces 4x115g</c:v>
                </c:pt>
                <c:pt idx="28">
                  <c:v>Danone Griego Natural 4x110g</c:v>
                </c:pt>
                <c:pt idx="29">
                  <c:v>La Lechera Fresa 2x125g</c:v>
                </c:pt>
                <c:pt idx="30">
                  <c:v>Carrefour Fresa 0% 6x125g</c:v>
                </c:pt>
                <c:pt idx="31">
                  <c:v>Activia Natural 0% 4x120g</c:v>
                </c:pt>
                <c:pt idx="32">
                  <c:v>Carrefour Bifidus Natural 0% 6x125g</c:v>
                </c:pt>
                <c:pt idx="33">
                  <c:v>Danonino Fresa 4x100g</c:v>
                </c:pt>
                <c:pt idx="34">
                  <c:v>Carrefour Sabores Mix 12x125g</c:v>
                </c:pt>
                <c:pt idx="35">
                  <c:v>Carrefour Proteína Plátano 400g</c:v>
                </c:pt>
                <c:pt idx="36">
                  <c:v>Actimel Natural 0% 6x100g</c:v>
                </c:pt>
                <c:pt idx="37">
                  <c:v>Carrefour Bifidus Muesli 0% 4x125g</c:v>
                </c:pt>
                <c:pt idx="38">
                  <c:v>YoPro Fresa 300g</c:v>
                </c:pt>
                <c:pt idx="39">
                  <c:v>Carrefour Bifidus Frutos Rojos 4x125g</c:v>
                </c:pt>
                <c:pt idx="40">
                  <c:v>Danonino Fresa 6x50g</c:v>
                </c:pt>
                <c:pt idx="41">
                  <c:v>Danacol Natural 6x100g</c:v>
                </c:pt>
                <c:pt idx="42">
                  <c:v>Carrefour Kefir Mango Líquido 500g</c:v>
                </c:pt>
                <c:pt idx="43">
                  <c:v>Activia Cremoso Lima/Limón 4x115g</c:v>
                </c:pt>
                <c:pt idx="44">
                  <c:v>Carrefour Natural Líquido 500g</c:v>
                </c:pt>
                <c:pt idx="45">
                  <c:v>Carrefour Petit Fresa y Plátano 12x60g</c:v>
                </c:pt>
                <c:pt idx="46">
                  <c:v>El Pastoret Melocotón y Maracuyá 500g</c:v>
                </c:pt>
                <c:pt idx="47">
                  <c:v>Carrefour Actuàlcol Tropical 8x100g</c:v>
                </c:pt>
                <c:pt idx="48">
                  <c:v>Carrefour L-Casei Fresa 0% 6x100g</c:v>
                </c:pt>
                <c:pt idx="49">
                  <c:v>El Pastoret Kefir Natural 500g</c:v>
                </c:pt>
                <c:pt idx="50">
                  <c:v>Danone Proteína Fresa 0% 270g</c:v>
                </c:pt>
                <c:pt idx="51">
                  <c:v>Alpro Skyr Fresa 400g</c:v>
                </c:pt>
                <c:pt idx="52">
                  <c:v>Actimel Natural 12x100g</c:v>
                </c:pt>
                <c:pt idx="53">
                  <c:v>Nestlé Kefir Natural 6x100g</c:v>
                </c:pt>
                <c:pt idx="54">
                  <c:v>Danonino Fresa 4x70g</c:v>
                </c:pt>
                <c:pt idx="55">
                  <c:v>Danone Proteína Chocolate 4x120g</c:v>
                </c:pt>
                <c:pt idx="56">
                  <c:v>Activia Muesli 0% 4x115g</c:v>
                </c:pt>
                <c:pt idx="57">
                  <c:v>Carrefour Kefir Natural 4x125g</c:v>
                </c:pt>
                <c:pt idx="58">
                  <c:v>Danacol Natural 12x100g</c:v>
                </c:pt>
                <c:pt idx="59">
                  <c:v>Carrefour Soja Natural 6x100g</c:v>
                </c:pt>
                <c:pt idx="60">
                  <c:v>YoPro Pudding Chocolate 180g</c:v>
                </c:pt>
                <c:pt idx="61">
                  <c:v>Oikos Griego Natural 900g</c:v>
                </c:pt>
                <c:pt idx="62">
                  <c:v>Danone Original Fresa 2x130g</c:v>
                </c:pt>
                <c:pt idx="63">
                  <c:v>Nestlé Nesquik 6x60g</c:v>
                </c:pt>
                <c:pt idx="64">
                  <c:v>Activia Piña 0% 4x120g</c:v>
                </c:pt>
                <c:pt idx="65">
                  <c:v>Danone Griego Manzana Canela 4x110g</c:v>
                </c:pt>
                <c:pt idx="66">
                  <c:v>Oikos Griego Caramelo 2x110g</c:v>
                </c:pt>
                <c:pt idx="67">
                  <c:v>Nestlé Kit Kat 2x115g</c:v>
                </c:pt>
                <c:pt idx="68">
                  <c:v>Carrefour Flan Huevo Proteico 2x160g</c:v>
                </c:pt>
                <c:pt idx="69">
                  <c:v>Alpro Arándanos/Fruitas Rojos 4x125g</c:v>
                </c:pt>
                <c:pt idx="70">
                  <c:v>La Fageda Natural 4x125g</c:v>
                </c:pt>
                <c:pt idx="71">
                  <c:v>Carrefour Pudding Chocolate 200g</c:v>
                </c:pt>
                <c:pt idx="72">
                  <c:v>Danone Original 2x130g</c:v>
                </c:pt>
                <c:pt idx="73">
                  <c:v>Activia Kefir Natural 345g</c:v>
                </c:pt>
                <c:pt idx="74">
                  <c:v>Activia Kefir Arándanos 320g</c:v>
                </c:pt>
                <c:pt idx="75">
                  <c:v>Nestlé Smarties 2x128g</c:v>
                </c:pt>
                <c:pt idx="76">
                  <c:v>Alpro Postre Chocolate Negro 4x125g</c:v>
                </c:pt>
                <c:pt idx="77">
                  <c:v>Carrefour Skyr Natural 150g</c:v>
                </c:pt>
                <c:pt idx="78">
                  <c:v>YoPro Natural 480g</c:v>
                </c:pt>
                <c:pt idx="79">
                  <c:v>YoPro Fresa 3+1x300g</c:v>
                </c:pt>
                <c:pt idx="80">
                  <c:v>YoPro Arándanos 4x120g</c:v>
                </c:pt>
                <c:pt idx="81">
                  <c:v>Carrefour Kefir Avena Nueces 4x125g</c:v>
                </c:pt>
                <c:pt idx="82">
                  <c:v>Kaiku Natural Sin Lactose 4x125g</c:v>
                </c:pt>
                <c:pt idx="83">
                  <c:v>Reina Mousse Chocolate 2x100g</c:v>
                </c:pt>
                <c:pt idx="84">
                  <c:v>La Fageda Natural Azucarado 4x125g</c:v>
                </c:pt>
                <c:pt idx="85">
                  <c:v>Nestlé Kefir 150g</c:v>
                </c:pt>
                <c:pt idx="86">
                  <c:v>Danone Choco Flakes 102g</c:v>
                </c:pt>
                <c:pt idx="87">
                  <c:v>Valio Profeel Chocolate 180g</c:v>
                </c:pt>
              </c:strCache>
            </c:strRef>
          </c:cat>
          <c:val>
            <c:numRef>
              <c:f>Sheet1!$B$2:$B$89</c:f>
              <c:numCache>
                <c:formatCode>General</c:formatCode>
                <c:ptCount val="88"/>
                <c:pt idx="0">
                  <c:v>0.08942832231918312</c:v>
                </c:pt>
                <c:pt idx="1">
                  <c:v>0.07004844062120225</c:v>
                </c:pt>
                <c:pt idx="2">
                  <c:v>0.06077326995779539</c:v>
                </c:pt>
                <c:pt idx="3">
                  <c:v>0.057460802174557526</c:v>
                </c:pt>
                <c:pt idx="4">
                  <c:v>0.045783749503139494</c:v>
                </c:pt>
                <c:pt idx="5">
                  <c:v>0.03669081318451078</c:v>
                </c:pt>
                <c:pt idx="6">
                  <c:v>0.032445027669625905</c:v>
                </c:pt>
                <c:pt idx="7">
                  <c:v>0.03237538392556029</c:v>
                </c:pt>
                <c:pt idx="8">
                  <c:v>0.030969063220400817</c:v>
                </c:pt>
                <c:pt idx="9">
                  <c:v>0.03002965989326571</c:v>
                </c:pt>
                <c:pt idx="10">
                  <c:v>0.023654156903474294</c:v>
                </c:pt>
                <c:pt idx="11">
                  <c:v>0.020868858062499107</c:v>
                </c:pt>
                <c:pt idx="12">
                  <c:v>0.018922549167802966</c:v>
                </c:pt>
                <c:pt idx="13">
                  <c:v>0.016903472275535843</c:v>
                </c:pt>
                <c:pt idx="14">
                  <c:v>0.01597579112518844</c:v>
                </c:pt>
                <c:pt idx="15">
                  <c:v>0.015356890906519004</c:v>
                </c:pt>
                <c:pt idx="16">
                  <c:v>0.015136881358942365</c:v>
                </c:pt>
                <c:pt idx="17">
                  <c:v>0.014781775806247144</c:v>
                </c:pt>
                <c:pt idx="18">
                  <c:v>0.013849795094007404</c:v>
                </c:pt>
                <c:pt idx="19">
                  <c:v>0.013043460407582797</c:v>
                </c:pt>
                <c:pt idx="20">
                  <c:v>0.012771442229134483</c:v>
                </c:pt>
                <c:pt idx="21">
                  <c:v>0.011395580936343016</c:v>
                </c:pt>
                <c:pt idx="22">
                  <c:v>0.01139388414898074</c:v>
                </c:pt>
                <c:pt idx="23">
                  <c:v>0.011293662135253403</c:v>
                </c:pt>
                <c:pt idx="24">
                  <c:v>0.010059965760875872</c:v>
                </c:pt>
                <c:pt idx="25">
                  <c:v>0.009887739154722597</c:v>
                </c:pt>
                <c:pt idx="26">
                  <c:v>0.009735100978979963</c:v>
                </c:pt>
                <c:pt idx="27">
                  <c:v>0.00962159862726502</c:v>
                </c:pt>
                <c:pt idx="28">
                  <c:v>0.009480585430747842</c:v>
                </c:pt>
                <c:pt idx="29">
                  <c:v>0.00845856193117992</c:v>
                </c:pt>
                <c:pt idx="30">
                  <c:v>0.008296253343562083</c:v>
                </c:pt>
                <c:pt idx="31">
                  <c:v>0.007770635284102059</c:v>
                </c:pt>
                <c:pt idx="32">
                  <c:v>0.007327524075892158</c:v>
                </c:pt>
                <c:pt idx="33">
                  <c:v>0.0072866568400386505</c:v>
                </c:pt>
                <c:pt idx="34">
                  <c:v>0.00726946068073602</c:v>
                </c:pt>
                <c:pt idx="35">
                  <c:v>0.007213597571372176</c:v>
                </c:pt>
                <c:pt idx="36">
                  <c:v>0.007170883076139493</c:v>
                </c:pt>
                <c:pt idx="37">
                  <c:v>0.007104954437974062</c:v>
                </c:pt>
                <c:pt idx="38">
                  <c:v>0.006915168036220309</c:v>
                </c:pt>
                <c:pt idx="39">
                  <c:v>0.006901624835153774</c:v>
                </c:pt>
                <c:pt idx="40">
                  <c:v>0.006839165061949691</c:v>
                </c:pt>
                <c:pt idx="41">
                  <c:v>0.006542582028255628</c:v>
                </c:pt>
                <c:pt idx="42">
                  <c:v>0.006301740121776519</c:v>
                </c:pt>
                <c:pt idx="43">
                  <c:v>0.00620574276937895</c:v>
                </c:pt>
                <c:pt idx="44">
                  <c:v>0.006015582793349762</c:v>
                </c:pt>
                <c:pt idx="45">
                  <c:v>0.005986197146829118</c:v>
                </c:pt>
                <c:pt idx="46">
                  <c:v>0.005739809115397304</c:v>
                </c:pt>
                <c:pt idx="47">
                  <c:v>0.005716686782740959</c:v>
                </c:pt>
                <c:pt idx="48">
                  <c:v>0.00559896526109317</c:v>
                </c:pt>
                <c:pt idx="49">
                  <c:v>0.0052886048716473425</c:v>
                </c:pt>
                <c:pt idx="50">
                  <c:v>0.005040421060959457</c:v>
                </c:pt>
                <c:pt idx="51">
                  <c:v>0.004719576302978114</c:v>
                </c:pt>
                <c:pt idx="52">
                  <c:v>0.004660143517533945</c:v>
                </c:pt>
                <c:pt idx="53">
                  <c:v>0.0045617161620410025</c:v>
                </c:pt>
                <c:pt idx="54">
                  <c:v>0.004552568390222622</c:v>
                </c:pt>
                <c:pt idx="55">
                  <c:v>0.004370934008829215</c:v>
                </c:pt>
                <c:pt idx="56">
                  <c:v>0.004277314682505921</c:v>
                </c:pt>
                <c:pt idx="57">
                  <c:v>0.004166720403366793</c:v>
                </c:pt>
                <c:pt idx="58">
                  <c:v>0.004048687588364274</c:v>
                </c:pt>
                <c:pt idx="59">
                  <c:v>0.0037978887727762698</c:v>
                </c:pt>
                <c:pt idx="60">
                  <c:v>0.0037227351786590255</c:v>
                </c:pt>
                <c:pt idx="61">
                  <c:v>0.00370635300002649</c:v>
                </c:pt>
                <c:pt idx="62">
                  <c:v>0.00347137329341403</c:v>
                </c:pt>
                <c:pt idx="63">
                  <c:v>0.003306482472016013</c:v>
                </c:pt>
                <c:pt idx="64">
                  <c:v>0.0032966002539573267</c:v>
                </c:pt>
                <c:pt idx="65">
                  <c:v>0.0032790119596576173</c:v>
                </c:pt>
                <c:pt idx="66">
                  <c:v>0.0030685575929918227</c:v>
                </c:pt>
                <c:pt idx="67">
                  <c:v>0.0030256699031014148</c:v>
                </c:pt>
                <c:pt idx="68">
                  <c:v>0.002984136448774504</c:v>
                </c:pt>
                <c:pt idx="69">
                  <c:v>0.0029627302291901376</c:v>
                </c:pt>
                <c:pt idx="70">
                  <c:v>0.0027000520835691274</c:v>
                </c:pt>
                <c:pt idx="71">
                  <c:v>0.002657578780876038</c:v>
                </c:pt>
                <c:pt idx="72">
                  <c:v>0.002433990763313866</c:v>
                </c:pt>
                <c:pt idx="73">
                  <c:v>0.0023655731614793934</c:v>
                </c:pt>
                <c:pt idx="74">
                  <c:v>0.002080344099506649</c:v>
                </c:pt>
                <c:pt idx="75">
                  <c:v>0.0020541071184013455</c:v>
                </c:pt>
                <c:pt idx="76">
                  <c:v>0.0018292433501856861</c:v>
                </c:pt>
                <c:pt idx="77">
                  <c:v>0.0018069019660803256</c:v>
                </c:pt>
                <c:pt idx="78">
                  <c:v>0.0017875429422160105</c:v>
                </c:pt>
                <c:pt idx="79">
                  <c:v>0.0017166473845694368</c:v>
                </c:pt>
                <c:pt idx="80">
                  <c:v>0.0015812229609094381</c:v>
                </c:pt>
                <c:pt idx="81">
                  <c:v>0.0014423897817334049</c:v>
                </c:pt>
                <c:pt idx="82">
                  <c:v>0.0013250186771839969</c:v>
                </c:pt>
                <c:pt idx="83">
                  <c:v>0.001289653383492719</c:v>
                </c:pt>
                <c:pt idx="84">
                  <c:v>0.0010656061406385728</c:v>
                </c:pt>
                <c:pt idx="85">
                  <c:v>0.0009615418135694864</c:v>
                </c:pt>
                <c:pt idx="86">
                  <c:v>0.0009100957807987703</c:v>
                </c:pt>
                <c:pt idx="87">
                  <c:v>0.000884749545976954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Danone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anone Griego 900g @2.99</c:v>
                </c:pt>
                <c:pt idx="1">
                  <c:v>Danone Skyr Natural 4x100g @2.49</c:v>
                </c:pt>
                <c:pt idx="2">
                  <c:v>Danone Smartfood Vainilla 500ml @3.49</c:v>
                </c:pt>
              </c:strCache>
            </c:strRef>
          </c:cat>
          <c:val>
            <c:numRef>
              <c:f>Sheet1!$B$2:$B$4</c:f>
              <c:numCache>
                <c:formatCode>General</c:formatCode>
                <c:ptCount val="3"/>
                <c:pt idx="0">
                  <c:v>100.7624483140488</c:v>
                </c:pt>
                <c:pt idx="1">
                  <c:v>100.8131967831812</c:v>
                </c:pt>
                <c:pt idx="2">
                  <c:v>101.0666598478183</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Danone Value Index</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anone Griego 900g @2.99</c:v>
                </c:pt>
                <c:pt idx="1">
                  <c:v>Danone Skyr Natural 4x100g @2.49</c:v>
                </c:pt>
                <c:pt idx="2">
                  <c:v>Danone Smartfood Vainilla 500ml @3.49</c:v>
                </c:pt>
              </c:strCache>
            </c:strRef>
          </c:cat>
          <c:val>
            <c:numRef>
              <c:f>Sheet1!$C$2:$C$4</c:f>
              <c:numCache>
                <c:formatCode>General</c:formatCode>
                <c:ptCount val="3"/>
                <c:pt idx="0">
                  <c:v>101.58982073139084</c:v>
                </c:pt>
                <c:pt idx="1">
                  <c:v>101.65153744174722</c:v>
                </c:pt>
                <c:pt idx="2">
                  <c:v>103.32511506874866</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Danone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anone Griego 900g @2.99</c:v>
                </c:pt>
                <c:pt idx="1">
                  <c:v>Danone Skyr Natural 4x100g @2.49</c:v>
                </c:pt>
                <c:pt idx="2">
                  <c:v>Danone Smartfood Vainilla 500ml @3.49</c:v>
                </c:pt>
              </c:strCache>
            </c:strRef>
          </c:cat>
          <c:val>
            <c:numRef>
              <c:f>Sheet1!$D$2:$D$4</c:f>
              <c:numCache>
                <c:formatCode>General</c:formatCode>
                <c:ptCount val="3"/>
                <c:pt idx="0">
                  <c:v>337.84926042031753</c:v>
                </c:pt>
                <c:pt idx="1">
                  <c:v>1229.166386204471</c:v>
                </c:pt>
                <c:pt idx="2">
                  <c:v>1122.33856613896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Oiko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ikos Griego Natural 0% 900g @3.79</c:v>
                </c:pt>
                <c:pt idx="1">
                  <c:v>Oikos Griego Natural 500g @2.79</c:v>
                </c:pt>
              </c:strCache>
            </c:strRef>
          </c:cat>
          <c:val>
            <c:numRef>
              <c:f>Sheet1!$B$2:$B$3</c:f>
              <c:numCache>
                <c:formatCode>General</c:formatCode>
                <c:ptCount val="2"/>
                <c:pt idx="0">
                  <c:v>103.74021133830173</c:v>
                </c:pt>
                <c:pt idx="1">
                  <c:v>107.91948799511104</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Oikos Value Index</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ikos Griego Natural 0% 900g @3.79</c:v>
                </c:pt>
                <c:pt idx="1">
                  <c:v>Oikos Griego Natural 500g @2.79</c:v>
                </c:pt>
              </c:strCache>
            </c:strRef>
          </c:cat>
          <c:val>
            <c:numRef>
              <c:f>Sheet1!$C$2:$C$3</c:f>
              <c:numCache>
                <c:formatCode>General</c:formatCode>
                <c:ptCount val="2"/>
                <c:pt idx="0">
                  <c:v>105.59932474074265</c:v>
                </c:pt>
                <c:pt idx="1">
                  <c:v>108.42078594781182</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Oiko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ikos Griego Natural 0% 900g @3.79</c:v>
                </c:pt>
                <c:pt idx="1">
                  <c:v>Oikos Griego Natural 500g @2.79</c:v>
                </c:pt>
              </c:strCache>
            </c:strRef>
          </c:cat>
          <c:val>
            <c:numRef>
              <c:f>Sheet1!$D$2:$D$3</c:f>
              <c:numCache>
                <c:formatCode>General</c:formatCode>
                <c:ptCount val="2"/>
                <c:pt idx="0">
                  <c:v>96.76166627647032</c:v>
                </c:pt>
                <c:pt idx="1">
                  <c:v>107.095146864231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Activia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ctivia Kefir 600ml @3.19</c:v>
                </c:pt>
                <c:pt idx="1">
                  <c:v>Activia Kefir 4x120g @2.99</c:v>
                </c:pt>
              </c:strCache>
            </c:strRef>
          </c:cat>
          <c:val>
            <c:numRef>
              <c:f>Sheet1!$B$2:$B$3</c:f>
              <c:numCache>
                <c:formatCode>General</c:formatCode>
                <c:ptCount val="2"/>
                <c:pt idx="0">
                  <c:v>100.86307115301352</c:v>
                </c:pt>
                <c:pt idx="1">
                  <c:v>102.69793161086305</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Activia Value Index</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ctivia Kefir 600ml @3.19</c:v>
                </c:pt>
                <c:pt idx="1">
                  <c:v>Activia Kefir 4x120g @2.99</c:v>
                </c:pt>
              </c:strCache>
            </c:strRef>
          </c:cat>
          <c:val>
            <c:numRef>
              <c:f>Sheet1!$C$2:$C$3</c:f>
              <c:numCache>
                <c:formatCode>General</c:formatCode>
                <c:ptCount val="2"/>
                <c:pt idx="0">
                  <c:v>101.06059589208725</c:v>
                </c:pt>
                <c:pt idx="1">
                  <c:v>103.18540764701825</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Activia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ctivia Kefir 600ml @3.19</c:v>
                </c:pt>
                <c:pt idx="1">
                  <c:v>Activia Kefir 4x120g @2.99</c:v>
                </c:pt>
              </c:strCache>
            </c:strRef>
          </c:cat>
          <c:val>
            <c:numRef>
              <c:f>Sheet1!$D$2:$D$3</c:f>
              <c:numCache>
                <c:formatCode>General</c:formatCode>
                <c:ptCount val="2"/>
                <c:pt idx="0">
                  <c:v>100.40752216817562</c:v>
                </c:pt>
                <c:pt idx="1">
                  <c:v>100.8430163494049</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Danacol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Danacol Nueces y Avena 0% 4x115g @3.99</c:v>
                </c:pt>
              </c:strCache>
            </c:strRef>
          </c:cat>
          <c:val>
            <c:numRef>
              <c:f>Sheet1!$B$2:$B$2</c:f>
              <c:numCache>
                <c:formatCode>General</c:formatCode>
                <c:ptCount val="1"/>
                <c:pt idx="0">
                  <c:v>109.2073178475024</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Danacol Value Index</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Danacol Nueces y Avena 0% 4x115g @3.99</c:v>
                </c:pt>
              </c:strCache>
            </c:strRef>
          </c:cat>
          <c:val>
            <c:numRef>
              <c:f>Sheet1!$C$2:$C$2</c:f>
              <c:numCache>
                <c:formatCode>General</c:formatCode>
                <c:ptCount val="1"/>
                <c:pt idx="0">
                  <c:v>109.26888044431242</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Danacol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Danacol Nueces y Avena 0% 4x115g @3.99</c:v>
                </c:pt>
              </c:strCache>
            </c:strRef>
          </c:cat>
          <c:val>
            <c:numRef>
              <c:f>Sheet1!$D$2:$D$2</c:f>
              <c:numCache>
                <c:formatCode>General</c:formatCode>
                <c:ptCount val="1"/>
                <c:pt idx="0">
                  <c:v>110.43884223237879</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Yopro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YoPro Energia/Cafeina 500ml @3.99</c:v>
                </c:pt>
                <c:pt idx="1">
                  <c:v>YoPro Fresa 3+1x300g @7.49</c:v>
                </c:pt>
              </c:strCache>
            </c:strRef>
          </c:cat>
          <c:val>
            <c:numRef>
              <c:f>Sheet1!$B$2:$B$3</c:f>
              <c:numCache>
                <c:formatCode>General</c:formatCode>
                <c:ptCount val="2"/>
                <c:pt idx="0">
                  <c:v>109.3515722592881</c:v>
                </c:pt>
                <c:pt idx="1">
                  <c:v>102.0803147269737</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Yopro Value Index</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YoPro Energia/Cafeina 500ml @3.99</c:v>
                </c:pt>
                <c:pt idx="1">
                  <c:v>YoPro Fresa 3+1x300g @7.49</c:v>
                </c:pt>
              </c:strCache>
            </c:strRef>
          </c:cat>
          <c:val>
            <c:numRef>
              <c:f>Sheet1!$C$2:$C$3</c:f>
              <c:numCache>
                <c:formatCode>General</c:formatCode>
                <c:ptCount val="2"/>
                <c:pt idx="0">
                  <c:v>118.34844477555725</c:v>
                </c:pt>
                <c:pt idx="1">
                  <c:v>109.10357221209395</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Yopro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YoPro Energia/Cafeina 500ml @3.99</c:v>
                </c:pt>
                <c:pt idx="1">
                  <c:v>YoPro Fresa 3+1x300g @7.49</c:v>
                </c:pt>
              </c:strCache>
            </c:strRef>
          </c:cat>
          <c:val>
            <c:numRef>
              <c:f>Sheet1!$D$2:$D$3</c:f>
              <c:numCache>
                <c:formatCode>General</c:formatCode>
                <c:ptCount val="2"/>
                <c:pt idx="0">
                  <c:v>130.3927944618384</c:v>
                </c:pt>
                <c:pt idx="1">
                  <c:v>109.58254470211398</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Danonino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Danonino Fresa 12x50g @2.59</c:v>
                </c:pt>
              </c:strCache>
            </c:strRef>
          </c:cat>
          <c:val>
            <c:numRef>
              <c:f>Sheet1!$B$2:$B$2</c:f>
              <c:numCache>
                <c:formatCode>General</c:formatCode>
                <c:ptCount val="1"/>
                <c:pt idx="0">
                  <c:v>104.12670869635663</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Danonino Value Index</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Danonino Fresa 12x50g @2.59</c:v>
                </c:pt>
              </c:strCache>
            </c:strRef>
          </c:cat>
          <c:val>
            <c:numRef>
              <c:f>Sheet1!$C$2:$C$2</c:f>
              <c:numCache>
                <c:formatCode>General</c:formatCode>
                <c:ptCount val="1"/>
                <c:pt idx="0">
                  <c:v>105.78720262650268</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Danonino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Danonino Fresa 12x50g @2.59</c:v>
                </c:pt>
              </c:strCache>
            </c:strRef>
          </c:cat>
          <c:val>
            <c:numRef>
              <c:f>Sheet1!$D$2:$D$2</c:f>
              <c:numCache>
                <c:formatCode>General</c:formatCode>
                <c:ptCount val="1"/>
                <c:pt idx="0">
                  <c:v>100.0434833881491</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Alpro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lpro Meal to Go Chocolate 500ml @3.99</c:v>
                </c:pt>
              </c:strCache>
            </c:strRef>
          </c:cat>
          <c:val>
            <c:numRef>
              <c:f>Sheet1!$B$2:$B$2</c:f>
              <c:numCache>
                <c:formatCode>General</c:formatCode>
                <c:ptCount val="1"/>
                <c:pt idx="0">
                  <c:v>109.18043959486894</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Alpro Value Index</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lpro Meal to Go Chocolate 500ml @3.99</c:v>
                </c:pt>
              </c:strCache>
            </c:strRef>
          </c:cat>
          <c:val>
            <c:numRef>
              <c:f>Sheet1!$C$2:$C$2</c:f>
              <c:numCache>
                <c:formatCode>General</c:formatCode>
                <c:ptCount val="1"/>
                <c:pt idx="0">
                  <c:v>119.1300549953624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Alpro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Alpro Meal to Go Chocolate 500ml @3.99</c:v>
                </c:pt>
              </c:strCache>
            </c:strRef>
          </c:cat>
          <c:val>
            <c:numRef>
              <c:f>Sheet1!$D$2:$D$2</c:f>
              <c:numCache>
                <c:formatCode>General</c:formatCode>
                <c:ptCount val="1"/>
                <c:pt idx="0">
                  <c:v>150.43554395380508</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Activia Kefir 4x120g</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C00000"/>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r>
                      <a:rPr sz="500">
                        <a:solidFill>
                          <a:srgbClr val="C00000"/>
                        </a:solidFill>
                      </a:rPr>
                      <a:t>Activia Kefir 4x12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9</c:f>
              <c:strCache>
                <c:ptCount val="88"/>
                <c:pt idx="0">
                  <c:v>Carrefour Natural 8x125g</c:v>
                </c:pt>
                <c:pt idx="1">
                  <c:v>Danone Fresa 4x120g</c:v>
                </c:pt>
                <c:pt idx="2">
                  <c:v>Carrefour Griego Natural 6x125g</c:v>
                </c:pt>
                <c:pt idx="3">
                  <c:v>Carrefour Sabores Mix 16x125g</c:v>
                </c:pt>
                <c:pt idx="4">
                  <c:v>Carrefour Griego Natural 1000g</c:v>
                </c:pt>
                <c:pt idx="5">
                  <c:v>Danone Natural 8x120g</c:v>
                </c:pt>
                <c:pt idx="6">
                  <c:v>Carrefour Griego Stracciatella 6x125g</c:v>
                </c:pt>
                <c:pt idx="7">
                  <c:v>Carrefour Griego Fresa 6x125g</c:v>
                </c:pt>
                <c:pt idx="8">
                  <c:v>Alpro Coco 400g</c:v>
                </c:pt>
                <c:pt idx="9">
                  <c:v>Carrefour L-Casei Fresa/Plátano y Piña/Coco 12x100g</c:v>
                </c:pt>
                <c:pt idx="10">
                  <c:v>Activia Natural 0% 8x120g</c:v>
                </c:pt>
                <c:pt idx="11">
                  <c:v>Actimel Fresa 6x100g</c:v>
                </c:pt>
                <c:pt idx="12">
                  <c:v>Carrefour Kefir 500g</c:v>
                </c:pt>
                <c:pt idx="13">
                  <c:v>Carrefour Fresa &amp; Plátano 8x125g</c:v>
                </c:pt>
                <c:pt idx="14">
                  <c:v>Carrefour Bifidus Fresa 0% 4x125g</c:v>
                </c:pt>
                <c:pt idx="15">
                  <c:v>Danone Mix Coco/Fresa/Frutos del Bosque/Macedoine 8x120g</c:v>
                </c:pt>
                <c:pt idx="16">
                  <c:v>Activia Natural 0% 16x120g</c:v>
                </c:pt>
                <c:pt idx="17">
                  <c:v>Activia Melocotón 0% 4x120g</c:v>
                </c:pt>
                <c:pt idx="18">
                  <c:v>Activia Natural 8x120g</c:v>
                </c:pt>
                <c:pt idx="19">
                  <c:v>Oikos Griego Natural 4x110g</c:v>
                </c:pt>
                <c:pt idx="20">
                  <c:v>Carrefour Natural 0% 6x125g</c:v>
                </c:pt>
                <c:pt idx="21">
                  <c:v>Danone Griego Stracciatella 4x110g</c:v>
                </c:pt>
                <c:pt idx="22">
                  <c:v>Vitalinea Fresa 0% 4x120g</c:v>
                </c:pt>
                <c:pt idx="23">
                  <c:v>Activia Cremoso Fresa 4x115g</c:v>
                </c:pt>
                <c:pt idx="24">
                  <c:v>Danone Proteína Stracciatella 4x105g</c:v>
                </c:pt>
                <c:pt idx="25">
                  <c:v>Danacol Limón 6x100g</c:v>
                </c:pt>
                <c:pt idx="26">
                  <c:v>Oikos Griego Fresa 4x110g</c:v>
                </c:pt>
                <c:pt idx="27">
                  <c:v>Activia Avena Nueces 4x115g</c:v>
                </c:pt>
                <c:pt idx="28">
                  <c:v>Danone Griego Natural 4x110g</c:v>
                </c:pt>
                <c:pt idx="29">
                  <c:v>La Lechera Fresa 2x125g</c:v>
                </c:pt>
                <c:pt idx="30">
                  <c:v>Carrefour Fresa 0% 6x125g</c:v>
                </c:pt>
                <c:pt idx="31">
                  <c:v>Activia Natural 0% 4x120g</c:v>
                </c:pt>
                <c:pt idx="32">
                  <c:v>Carrefour Bifidus Natural 0% 6x125g</c:v>
                </c:pt>
                <c:pt idx="33">
                  <c:v>Danonino Fresa 4x100g</c:v>
                </c:pt>
                <c:pt idx="34">
                  <c:v>Carrefour Sabores Mix 12x125g</c:v>
                </c:pt>
                <c:pt idx="35">
                  <c:v>Carrefour Proteína Plátano 400g</c:v>
                </c:pt>
                <c:pt idx="36">
                  <c:v>Actimel Natural 0% 6x100g</c:v>
                </c:pt>
                <c:pt idx="37">
                  <c:v>Carrefour Bifidus Muesli 0% 4x125g</c:v>
                </c:pt>
                <c:pt idx="38">
                  <c:v>YoPro Fresa 300g</c:v>
                </c:pt>
                <c:pt idx="39">
                  <c:v>Carrefour Bifidus Frutos Rojos 4x125g</c:v>
                </c:pt>
                <c:pt idx="40">
                  <c:v>Danonino Fresa 6x50g</c:v>
                </c:pt>
                <c:pt idx="41">
                  <c:v>Danacol Natural 6x100g</c:v>
                </c:pt>
                <c:pt idx="42">
                  <c:v>Carrefour Kefir Mango Líquido 500g</c:v>
                </c:pt>
                <c:pt idx="43">
                  <c:v>Activia Cremoso Lima/Limón 4x115g</c:v>
                </c:pt>
                <c:pt idx="44">
                  <c:v>Carrefour Natural Líquido 500g</c:v>
                </c:pt>
                <c:pt idx="45">
                  <c:v>Carrefour Petit Fresa y Plátano 12x60g</c:v>
                </c:pt>
                <c:pt idx="46">
                  <c:v>El Pastoret Melocotón y Maracuyá 500g</c:v>
                </c:pt>
                <c:pt idx="47">
                  <c:v>Carrefour Actuàlcol Tropical 8x100g</c:v>
                </c:pt>
                <c:pt idx="48">
                  <c:v>Carrefour L-Casei Fresa 0% 6x100g</c:v>
                </c:pt>
                <c:pt idx="49">
                  <c:v>El Pastoret Kefir Natural 500g</c:v>
                </c:pt>
                <c:pt idx="50">
                  <c:v>Danone Proteína Fresa 0% 270g</c:v>
                </c:pt>
                <c:pt idx="51">
                  <c:v>Alpro Skyr Fresa 400g</c:v>
                </c:pt>
                <c:pt idx="52">
                  <c:v>Actimel Natural 12x100g</c:v>
                </c:pt>
                <c:pt idx="53">
                  <c:v>Danonino Fresa 4x70g</c:v>
                </c:pt>
                <c:pt idx="54">
                  <c:v>Nestlé Kefir Natural 6x100g</c:v>
                </c:pt>
                <c:pt idx="55">
                  <c:v>Danone Proteína Chocolate 4x120g</c:v>
                </c:pt>
                <c:pt idx="56">
                  <c:v>Activia Muesli 0% 4x115g</c:v>
                </c:pt>
                <c:pt idx="57">
                  <c:v>Carrefour Kefir Natural 4x125g</c:v>
                </c:pt>
                <c:pt idx="58">
                  <c:v>Danacol Natural 12x100g</c:v>
                </c:pt>
                <c:pt idx="59">
                  <c:v>Carrefour Soja Natural 6x100g</c:v>
                </c:pt>
                <c:pt idx="60">
                  <c:v>YoPro Pudding Chocolate 180g</c:v>
                </c:pt>
                <c:pt idx="61">
                  <c:v>Oikos Griego Natural 900g</c:v>
                </c:pt>
                <c:pt idx="62">
                  <c:v>Danone Original Fresa 2x130g</c:v>
                </c:pt>
                <c:pt idx="63">
                  <c:v>Activia Kefir 4x120g</c:v>
                </c:pt>
                <c:pt idx="64">
                  <c:v>Nestlé Nesquik 6x60g</c:v>
                </c:pt>
                <c:pt idx="65">
                  <c:v>Danone Griego Manzana Canela 4x110g</c:v>
                </c:pt>
                <c:pt idx="66">
                  <c:v>Activia Piña 0% 4x120g</c:v>
                </c:pt>
                <c:pt idx="67">
                  <c:v>Oikos Griego Caramelo 2x110g</c:v>
                </c:pt>
                <c:pt idx="68">
                  <c:v>Nestlé Kit Kat 2x115g</c:v>
                </c:pt>
                <c:pt idx="69">
                  <c:v>Carrefour Flan Huevo Proteico 2x160g</c:v>
                </c:pt>
                <c:pt idx="70">
                  <c:v>Alpro Arándanos/Fruitas Rojos 4x125g</c:v>
                </c:pt>
                <c:pt idx="71">
                  <c:v>La Fageda Natural 4x125g</c:v>
                </c:pt>
                <c:pt idx="72">
                  <c:v>Carrefour Pudding Chocolate 200g</c:v>
                </c:pt>
                <c:pt idx="73">
                  <c:v>Danone Original 2x130g</c:v>
                </c:pt>
                <c:pt idx="74">
                  <c:v>Activia Kefir Natural 345g</c:v>
                </c:pt>
                <c:pt idx="75">
                  <c:v>Activia Kefir Arándanos 320g</c:v>
                </c:pt>
                <c:pt idx="76">
                  <c:v>Nestlé Smarties 2x128g</c:v>
                </c:pt>
                <c:pt idx="77">
                  <c:v>Alpro Postre Chocolate Negro 4x125g</c:v>
                </c:pt>
                <c:pt idx="78">
                  <c:v>Carrefour Skyr Natural 150g</c:v>
                </c:pt>
                <c:pt idx="79">
                  <c:v>YoPro Natural 480g</c:v>
                </c:pt>
                <c:pt idx="80">
                  <c:v>YoPro Arándanos 4x120g</c:v>
                </c:pt>
                <c:pt idx="81">
                  <c:v>Carrefour Kefir Avena Nueces 4x125g</c:v>
                </c:pt>
                <c:pt idx="82">
                  <c:v>Kaiku Natural Sin Lactose 4x125g</c:v>
                </c:pt>
                <c:pt idx="83">
                  <c:v>Reina Mousse Chocolate 2x100g</c:v>
                </c:pt>
                <c:pt idx="84">
                  <c:v>La Fageda Natural Azucarado 4x125g</c:v>
                </c:pt>
                <c:pt idx="85">
                  <c:v>Nestlé Kefir 150g</c:v>
                </c:pt>
                <c:pt idx="86">
                  <c:v>Danone Choco Flakes 102g</c:v>
                </c:pt>
                <c:pt idx="87">
                  <c:v>Valio Profeel Chocolate 180g</c:v>
                </c:pt>
              </c:strCache>
            </c:strRef>
          </c:cat>
          <c:val>
            <c:numRef>
              <c:f>Sheet1!$B$2:$B$89</c:f>
              <c:numCache>
                <c:formatCode>General</c:formatCode>
                <c:ptCount val="88"/>
                <c:pt idx="0">
                  <c:v>0.08947585315307445</c:v>
                </c:pt>
                <c:pt idx="1">
                  <c:v>0.07008383751134954</c:v>
                </c:pt>
                <c:pt idx="2">
                  <c:v>0.06077563311569118</c:v>
                </c:pt>
                <c:pt idx="3">
                  <c:v>0.05746814022959028</c:v>
                </c:pt>
                <c:pt idx="4">
                  <c:v>0.045779730485796616</c:v>
                </c:pt>
                <c:pt idx="5">
                  <c:v>0.03666954362338357</c:v>
                </c:pt>
                <c:pt idx="6">
                  <c:v>0.03243919015472206</c:v>
                </c:pt>
                <c:pt idx="7">
                  <c:v>0.03238597647696703</c:v>
                </c:pt>
                <c:pt idx="8">
                  <c:v>0.030971692745906318</c:v>
                </c:pt>
                <c:pt idx="9">
                  <c:v>0.030033681086965542</c:v>
                </c:pt>
                <c:pt idx="10">
                  <c:v>0.023498213157717187</c:v>
                </c:pt>
                <c:pt idx="11">
                  <c:v>0.020838200189925937</c:v>
                </c:pt>
                <c:pt idx="12">
                  <c:v>0.018916528721249486</c:v>
                </c:pt>
                <c:pt idx="13">
                  <c:v>0.016887737102448133</c:v>
                </c:pt>
                <c:pt idx="14">
                  <c:v>0.015964916114187728</c:v>
                </c:pt>
                <c:pt idx="15">
                  <c:v>0.015360874327581722</c:v>
                </c:pt>
                <c:pt idx="16">
                  <c:v>0.014937755798860638</c:v>
                </c:pt>
                <c:pt idx="17">
                  <c:v>0.014715609286083849</c:v>
                </c:pt>
                <c:pt idx="18">
                  <c:v>0.013713885552391815</c:v>
                </c:pt>
                <c:pt idx="19">
                  <c:v>0.013000298116490004</c:v>
                </c:pt>
                <c:pt idx="20">
                  <c:v>0.012774915644600164</c:v>
                </c:pt>
                <c:pt idx="21">
                  <c:v>0.011389588377951539</c:v>
                </c:pt>
                <c:pt idx="22">
                  <c:v>0.011364191964809587</c:v>
                </c:pt>
                <c:pt idx="23">
                  <c:v>0.011235954652422246</c:v>
                </c:pt>
                <c:pt idx="24">
                  <c:v>0.010051446872071218</c:v>
                </c:pt>
                <c:pt idx="25">
                  <c:v>0.009819389920681465</c:v>
                </c:pt>
                <c:pt idx="26">
                  <c:v>0.009706910648362948</c:v>
                </c:pt>
                <c:pt idx="27">
                  <c:v>0.009571165125130315</c:v>
                </c:pt>
                <c:pt idx="28">
                  <c:v>0.009477435345721373</c:v>
                </c:pt>
                <c:pt idx="29">
                  <c:v>0.008452382213795295</c:v>
                </c:pt>
                <c:pt idx="30">
                  <c:v>0.008282578255117402</c:v>
                </c:pt>
                <c:pt idx="31">
                  <c:v>0.007636229511566343</c:v>
                </c:pt>
                <c:pt idx="32">
                  <c:v>0.007309527599236187</c:v>
                </c:pt>
                <c:pt idx="33">
                  <c:v>0.0072700383414843325</c:v>
                </c:pt>
                <c:pt idx="34">
                  <c:v>0.007252644437700681</c:v>
                </c:pt>
                <c:pt idx="35">
                  <c:v>0.007219318649201474</c:v>
                </c:pt>
                <c:pt idx="36">
                  <c:v>0.00713310621675475</c:v>
                </c:pt>
                <c:pt idx="37">
                  <c:v>0.00708701289078771</c:v>
                </c:pt>
                <c:pt idx="38">
                  <c:v>0.006939108557992141</c:v>
                </c:pt>
                <c:pt idx="39">
                  <c:v>0.006896112882088302</c:v>
                </c:pt>
                <c:pt idx="40">
                  <c:v>0.006837320122700249</c:v>
                </c:pt>
                <c:pt idx="41">
                  <c:v>0.006501523303815854</c:v>
                </c:pt>
                <c:pt idx="42">
                  <c:v>0.006290103072566168</c:v>
                </c:pt>
                <c:pt idx="43">
                  <c:v>0.006143316530301804</c:v>
                </c:pt>
                <c:pt idx="44">
                  <c:v>0.006004998480473437</c:v>
                </c:pt>
                <c:pt idx="45">
                  <c:v>0.005986461620107785</c:v>
                </c:pt>
                <c:pt idx="46">
                  <c:v>0.005723833187234028</c:v>
                </c:pt>
                <c:pt idx="47">
                  <c:v>0.005690346088952423</c:v>
                </c:pt>
                <c:pt idx="48">
                  <c:v>0.005592039664061431</c:v>
                </c:pt>
                <c:pt idx="49">
                  <c:v>0.0052703109197863845</c:v>
                </c:pt>
                <c:pt idx="50">
                  <c:v>0.005034486016809624</c:v>
                </c:pt>
                <c:pt idx="51">
                  <c:v>0.004706713482610672</c:v>
                </c:pt>
                <c:pt idx="52">
                  <c:v>0.004641745584749759</c:v>
                </c:pt>
                <c:pt idx="53">
                  <c:v>0.004540521773205855</c:v>
                </c:pt>
                <c:pt idx="54">
                  <c:v>0.004509159344573088</c:v>
                </c:pt>
                <c:pt idx="55">
                  <c:v>0.0043640564260021926</c:v>
                </c:pt>
                <c:pt idx="56">
                  <c:v>0.004214604951427883</c:v>
                </c:pt>
                <c:pt idx="57">
                  <c:v>0.0041382861724800464</c:v>
                </c:pt>
                <c:pt idx="58">
                  <c:v>0.004032957570942718</c:v>
                </c:pt>
                <c:pt idx="59">
                  <c:v>0.0038004781294735056</c:v>
                </c:pt>
                <c:pt idx="60">
                  <c:v>0.0037294756000690525</c:v>
                </c:pt>
                <c:pt idx="61">
                  <c:v>0.0036948368292054456</c:v>
                </c:pt>
                <c:pt idx="62">
                  <c:v>0.003467073284222571</c:v>
                </c:pt>
                <c:pt idx="63">
                  <c:v>0.003362521884958947</c:v>
                </c:pt>
                <c:pt idx="64">
                  <c:v>0.0033061202457952085</c:v>
                </c:pt>
                <c:pt idx="65">
                  <c:v>0.0032748105831992527</c:v>
                </c:pt>
                <c:pt idx="66">
                  <c:v>0.003261577786333748</c:v>
                </c:pt>
                <c:pt idx="67">
                  <c:v>0.0030654995718479667</c:v>
                </c:pt>
                <c:pt idx="68">
                  <c:v>0.0030220884443983606</c:v>
                </c:pt>
                <c:pt idx="69">
                  <c:v>0.0029851008660989483</c:v>
                </c:pt>
                <c:pt idx="70">
                  <c:v>0.0029579598619883553</c:v>
                </c:pt>
                <c:pt idx="71">
                  <c:v>0.0027001016075807356</c:v>
                </c:pt>
                <c:pt idx="72">
                  <c:v>0.002652746284410676</c:v>
                </c:pt>
                <c:pt idx="73">
                  <c:v>0.0024312721844426117</c:v>
                </c:pt>
                <c:pt idx="74">
                  <c:v>0.0023232347072425098</c:v>
                </c:pt>
                <c:pt idx="75">
                  <c:v>0.0020597704618307414</c:v>
                </c:pt>
                <c:pt idx="76">
                  <c:v>0.002056061232304296</c:v>
                </c:pt>
                <c:pt idx="77">
                  <c:v>0.0018273075350617798</c:v>
                </c:pt>
                <c:pt idx="78">
                  <c:v>0.0018068686150049097</c:v>
                </c:pt>
                <c:pt idx="79">
                  <c:v>0.0017637410150599998</c:v>
                </c:pt>
                <c:pt idx="80">
                  <c:v>0.00157903390441862</c:v>
                </c:pt>
                <c:pt idx="81">
                  <c:v>0.0014378736359631212</c:v>
                </c:pt>
                <c:pt idx="82">
                  <c:v>0.0013186340443781762</c:v>
                </c:pt>
                <c:pt idx="83">
                  <c:v>0.001287893121531043</c:v>
                </c:pt>
                <c:pt idx="84">
                  <c:v>0.0010658218404928324</c:v>
                </c:pt>
                <c:pt idx="85">
                  <c:v>0.0009582628184594799</c:v>
                </c:pt>
                <c:pt idx="86">
                  <c:v>0.0009101672971346868</c:v>
                </c:pt>
                <c:pt idx="87">
                  <c:v>0.0008845272364326039</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Activia Kefir 600ml</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Activia Natural 0% 16x120g</c:v>
                </c:pt>
                <c:pt idx="1">
                  <c:v>Activia Natural 8x120g</c:v>
                </c:pt>
                <c:pt idx="2">
                  <c:v>Activia Natural 0% 8x120g</c:v>
                </c:pt>
                <c:pt idx="3">
                  <c:v>Activia Natural 0% 4x120g</c:v>
                </c:pt>
                <c:pt idx="4">
                  <c:v>Nestlé Kefir Natural 6x100g</c:v>
                </c:pt>
                <c:pt idx="5">
                  <c:v>Carrefour Griego Natural 1000g</c:v>
                </c:pt>
                <c:pt idx="6">
                  <c:v>Danacol Limón 6x100g</c:v>
                </c:pt>
                <c:pt idx="7">
                  <c:v>Activia Avena Nueces 4x115g</c:v>
                </c:pt>
                <c:pt idx="8">
                  <c:v>Carrefour Griego Natural 6x125g</c:v>
                </c:pt>
                <c:pt idx="9">
                  <c:v>Oikos Griego Natural 4x110g</c:v>
                </c:pt>
                <c:pt idx="10">
                  <c:v>Activia Melocotón 0% 4x120g</c:v>
                </c:pt>
              </c:strCache>
            </c:strRef>
          </c:cat>
          <c:val>
            <c:numRef>
              <c:f>Sheet1!$B$2:$B$12</c:f>
              <c:numCache>
                <c:formatCode>General</c:formatCode>
                <c:ptCount val="11"/>
                <c:pt idx="0">
                  <c:v>0.04186981671837691</c:v>
                </c:pt>
                <c:pt idx="1">
                  <c:v>0.03938839962760379</c:v>
                </c:pt>
                <c:pt idx="2">
                  <c:v>0.030822911443621478</c:v>
                </c:pt>
                <c:pt idx="3">
                  <c:v>0.019195645998809505</c:v>
                </c:pt>
                <c:pt idx="4">
                  <c:v>0.04038420022690257</c:v>
                </c:pt>
                <c:pt idx="5">
                  <c:v>0.03874385745765868</c:v>
                </c:pt>
                <c:pt idx="6">
                  <c:v>0.02294048323920627</c:v>
                </c:pt>
                <c:pt idx="7">
                  <c:v>0.01988915265978164</c:v>
                </c:pt>
                <c:pt idx="8">
                  <c:v>0.027761479090122665</c:v>
                </c:pt>
                <c:pt idx="9">
                  <c:v>0.026976371602851677</c:v>
                </c:pt>
                <c:pt idx="10">
                  <c:v>0.01685529697018648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Activia Kefir 4x120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Activia Natural 0% 16x120g</c:v>
                </c:pt>
                <c:pt idx="1">
                  <c:v>Activia Natural 8x120g</c:v>
                </c:pt>
                <c:pt idx="2">
                  <c:v>Activia Natural 0% 8x120g</c:v>
                </c:pt>
                <c:pt idx="3">
                  <c:v>Activia Natural 0% 4x120g</c:v>
                </c:pt>
                <c:pt idx="4">
                  <c:v>Nestlé Kefir Natural 6x100g</c:v>
                </c:pt>
                <c:pt idx="5">
                  <c:v>Carrefour Griego Natural 1000g</c:v>
                </c:pt>
                <c:pt idx="6">
                  <c:v>Danacol Limón 6x100g</c:v>
                </c:pt>
                <c:pt idx="7">
                  <c:v>Activia Avena Nueces 4x115g</c:v>
                </c:pt>
                <c:pt idx="8">
                  <c:v>Carrefour Griego Natural 6x125g</c:v>
                </c:pt>
                <c:pt idx="9">
                  <c:v>Oikos Griego Natural 4x110g</c:v>
                </c:pt>
                <c:pt idx="10">
                  <c:v>Activia Melocotón 0% 4x120g</c:v>
                </c:pt>
              </c:strCache>
            </c:strRef>
          </c:cat>
          <c:val>
            <c:numRef>
              <c:f>Sheet1!$B$2:$B$12</c:f>
              <c:numCache>
                <c:formatCode>General</c:formatCode>
                <c:ptCount val="11"/>
                <c:pt idx="0">
                  <c:v>0.06601985884086918</c:v>
                </c:pt>
                <c:pt idx="1">
                  <c:v>0.047147546395325486</c:v>
                </c:pt>
                <c:pt idx="2">
                  <c:v>0.05484987191902329</c:v>
                </c:pt>
                <c:pt idx="3">
                  <c:v>0.04393999983286215</c:v>
                </c:pt>
                <c:pt idx="4">
                  <c:v>0.018669275678269835</c:v>
                </c:pt>
                <c:pt idx="5">
                  <c:v>0.018658948027865083</c:v>
                </c:pt>
                <c:pt idx="6">
                  <c:v>0.02968434272254415</c:v>
                </c:pt>
                <c:pt idx="7">
                  <c:v>0.027205026400726078</c:v>
                </c:pt>
                <c:pt idx="8">
                  <c:v>0.018774774196949475</c:v>
                </c:pt>
                <c:pt idx="9">
                  <c:v>0.019023533408896585</c:v>
                </c:pt>
                <c:pt idx="10">
                  <c:v>0.02748281554373269</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8.0536282863718032E-3"/>
          <c:w val="0.96518562554386689"/>
          <c:h val="0.98008834615658758"/>
        </c:manualLayout>
      </c:layout>
      <c:barChart>
        <c:barDir val="bar"/>
        <c:grouping val="clustered"/>
        <c:varyColors val="0"/>
        <c:ser>
          <c:idx val="2"/>
          <c:order val="0"/>
          <c:tx>
            <c:strRef>
              <c:f>Sheet1!$B$1</c:f>
              <c:strCache>
                <c:ptCount val="1"/>
                <c:pt idx="0">
                  <c:v>Alpro Meal to Go Chocolate 500ml</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Carrefour Natural 8x125g</c:v>
                </c:pt>
                <c:pt idx="1">
                  <c:v>Danone Fresa 4x120g</c:v>
                </c:pt>
                <c:pt idx="2">
                  <c:v>Carrefour Griego Natural 6x125g</c:v>
                </c:pt>
                <c:pt idx="3">
                  <c:v>Carrefour Sabores Mix 16x125g</c:v>
                </c:pt>
                <c:pt idx="4">
                  <c:v>Carrefour Griego Natural 1000g</c:v>
                </c:pt>
                <c:pt idx="5">
                  <c:v>Alpro Coco 400g</c:v>
                </c:pt>
                <c:pt idx="6">
                  <c:v>Danone Natural 8x120g</c:v>
                </c:pt>
                <c:pt idx="7">
                  <c:v>Carrefour L-Casei Fresa/Plátano y Piña/Coco 12x100g</c:v>
                </c:pt>
                <c:pt idx="8">
                  <c:v>Carrefour Griego Stracciatella 6x125g</c:v>
                </c:pt>
                <c:pt idx="9">
                  <c:v>Carrefour Griego Fresa 6x125g</c:v>
                </c:pt>
                <c:pt idx="10">
                  <c:v>Actimel Fresa 6x100g</c:v>
                </c:pt>
              </c:strCache>
            </c:strRef>
          </c:cat>
          <c:val>
            <c:numRef>
              <c:f>Sheet1!$B$2:$B$12</c:f>
              <c:numCache>
                <c:formatCode>General</c:formatCode>
                <c:ptCount val="11"/>
                <c:pt idx="0">
                  <c:v>0.07084428274339813</c:v>
                </c:pt>
                <c:pt idx="1">
                  <c:v>0.059517041145246405</c:v>
                </c:pt>
                <c:pt idx="2">
                  <c:v>0.04951959093084659</c:v>
                </c:pt>
                <c:pt idx="3">
                  <c:v>0.04855282476211021</c:v>
                </c:pt>
                <c:pt idx="4">
                  <c:v>0.04352942121830077</c:v>
                </c:pt>
                <c:pt idx="5">
                  <c:v>0.035961061366075325</c:v>
                </c:pt>
                <c:pt idx="6">
                  <c:v>0.031895954335295594</c:v>
                </c:pt>
                <c:pt idx="7">
                  <c:v>0.030515536673045858</c:v>
                </c:pt>
                <c:pt idx="8">
                  <c:v>0.02833271436595858</c:v>
                </c:pt>
                <c:pt idx="9">
                  <c:v>0.027548816551527494</c:v>
                </c:pt>
                <c:pt idx="10">
                  <c:v>0.022846998184351895</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8.0536282863718032E-3"/>
          <c:w val="0.96518562554386689"/>
          <c:h val="0.98008834615658758"/>
        </c:manualLayout>
      </c:layout>
      <c:barChart>
        <c:barDir val="bar"/>
        <c:grouping val="clustered"/>
        <c:varyColors val="0"/>
        <c:ser>
          <c:idx val="2"/>
          <c:order val="0"/>
          <c:tx>
            <c:strRef>
              <c:f>Sheet1!$B$1</c:f>
              <c:strCache>
                <c:ptCount val="1"/>
                <c:pt idx="0">
                  <c:v>Danacol Nueces y Avena 0% 4x115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Danacol Limón 6x100g</c:v>
                </c:pt>
                <c:pt idx="1">
                  <c:v>Alpro Coco 400g</c:v>
                </c:pt>
                <c:pt idx="2">
                  <c:v>Activia Avena Nueces 4x115g</c:v>
                </c:pt>
                <c:pt idx="3">
                  <c:v>Danacol Natural 6x100g</c:v>
                </c:pt>
                <c:pt idx="4">
                  <c:v>Activia Melocotón 0% 4x120g</c:v>
                </c:pt>
                <c:pt idx="5">
                  <c:v>Activia Natural 0% 8x120g</c:v>
                </c:pt>
                <c:pt idx="6">
                  <c:v>Actimel Fresa 6x100g</c:v>
                </c:pt>
                <c:pt idx="7">
                  <c:v>Activia Natural 8x120g</c:v>
                </c:pt>
                <c:pt idx="8">
                  <c:v>Activia Natural 0% 16x120g</c:v>
                </c:pt>
                <c:pt idx="9">
                  <c:v>Danone Fresa 4x120g</c:v>
                </c:pt>
                <c:pt idx="10">
                  <c:v>Danone Natural 8x120g</c:v>
                </c:pt>
              </c:strCache>
            </c:strRef>
          </c:cat>
          <c:val>
            <c:numRef>
              <c:f>Sheet1!$B$2:$B$12</c:f>
              <c:numCache>
                <c:formatCode>General</c:formatCode>
                <c:ptCount val="11"/>
                <c:pt idx="0">
                  <c:v>0.044101657524440674</c:v>
                </c:pt>
                <c:pt idx="1">
                  <c:v>0.040746170387251514</c:v>
                </c:pt>
                <c:pt idx="2">
                  <c:v>0.034131195442775306</c:v>
                </c:pt>
                <c:pt idx="3">
                  <c:v>0.03393263538880327</c:v>
                </c:pt>
                <c:pt idx="4">
                  <c:v>0.03299495899448262</c:v>
                </c:pt>
                <c:pt idx="5">
                  <c:v>0.03220096818238317</c:v>
                </c:pt>
                <c:pt idx="6">
                  <c:v>0.03102610905861237</c:v>
                </c:pt>
                <c:pt idx="7">
                  <c:v>0.029457028320358535</c:v>
                </c:pt>
                <c:pt idx="8">
                  <c:v>0.026772075304729144</c:v>
                </c:pt>
                <c:pt idx="9">
                  <c:v>0.023515704755890453</c:v>
                </c:pt>
                <c:pt idx="10">
                  <c:v>0.022400017355751683</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8.0536282863718032E-3"/>
          <c:w val="0.96518562554386689"/>
          <c:h val="0.99194624552591137"/>
        </c:manualLayout>
      </c:layout>
      <c:barChart>
        <c:barDir val="bar"/>
        <c:grouping val="clustered"/>
        <c:varyColors val="0"/>
        <c:ser>
          <c:idx val="2"/>
          <c:order val="0"/>
          <c:tx>
            <c:strRef>
              <c:f>Sheet1!$B$1</c:f>
              <c:strCache>
                <c:ptCount val="1"/>
                <c:pt idx="0">
                  <c:v>Danone Griego 90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Carrefour Griego Natural 1000g</c:v>
                </c:pt>
                <c:pt idx="1">
                  <c:v>Carrefour Griego Natural 6x125g</c:v>
                </c:pt>
                <c:pt idx="2">
                  <c:v>Carrefour Natural 8x125g</c:v>
                </c:pt>
                <c:pt idx="3">
                  <c:v>Alpro Coco 400g</c:v>
                </c:pt>
                <c:pt idx="4">
                  <c:v>Danone Natural 8x120g</c:v>
                </c:pt>
                <c:pt idx="5">
                  <c:v>Danone Fresa 4x120g</c:v>
                </c:pt>
                <c:pt idx="6">
                  <c:v>Carrefour Griego Stracciatella 6x125g</c:v>
                </c:pt>
                <c:pt idx="7">
                  <c:v>Carrefour Sabores Mix 16x125g</c:v>
                </c:pt>
                <c:pt idx="8">
                  <c:v>Carrefour L-Casei Fresa/Plátano y Piña/Coco 12x100g</c:v>
                </c:pt>
                <c:pt idx="9">
                  <c:v>Carrefour Kefir 500g</c:v>
                </c:pt>
                <c:pt idx="10">
                  <c:v>Carrefour Proteína Plátano 400g</c:v>
                </c:pt>
              </c:strCache>
            </c:strRef>
          </c:cat>
          <c:val>
            <c:numRef>
              <c:f>Sheet1!$B$2:$B$12</c:f>
              <c:numCache>
                <c:formatCode>General</c:formatCode>
                <c:ptCount val="11"/>
                <c:pt idx="0">
                  <c:v>0.14590917446527665</c:v>
                </c:pt>
                <c:pt idx="1">
                  <c:v>0.029687560999752057</c:v>
                </c:pt>
                <c:pt idx="2">
                  <c:v>0.03583669175973468</c:v>
                </c:pt>
                <c:pt idx="3">
                  <c:v>0.05695546090285848</c:v>
                </c:pt>
                <c:pt idx="4">
                  <c:v>0.024478746397746973</c:v>
                </c:pt>
                <c:pt idx="5">
                  <c:v>0.013947067881485456</c:v>
                </c:pt>
                <c:pt idx="6">
                  <c:v>0.017155769417466514</c:v>
                </c:pt>
                <c:pt idx="7">
                  <c:v>0.0194155697667436</c:v>
                </c:pt>
                <c:pt idx="8">
                  <c:v>0.030521690256183495</c:v>
                </c:pt>
                <c:pt idx="9">
                  <c:v>0.04818390035567416</c:v>
                </c:pt>
                <c:pt idx="10">
                  <c:v>0.05551465939290831</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Danone Skyr Natural 4x100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Carrefour Griego Natural 1000g</c:v>
                </c:pt>
                <c:pt idx="1">
                  <c:v>Carrefour Griego Natural 6x125g</c:v>
                </c:pt>
                <c:pt idx="2">
                  <c:v>Carrefour Natural 8x125g</c:v>
                </c:pt>
                <c:pt idx="3">
                  <c:v>Alpro Coco 400g</c:v>
                </c:pt>
                <c:pt idx="4">
                  <c:v>Danone Natural 8x120g</c:v>
                </c:pt>
                <c:pt idx="5">
                  <c:v>Danone Fresa 4x120g</c:v>
                </c:pt>
                <c:pt idx="6">
                  <c:v>Carrefour Griego Stracciatella 6x125g</c:v>
                </c:pt>
                <c:pt idx="7">
                  <c:v>Carrefour Sabores Mix 16x125g</c:v>
                </c:pt>
                <c:pt idx="8">
                  <c:v>Carrefour L-Casei Fresa/Plátano y Piña/Coco 12x100g</c:v>
                </c:pt>
                <c:pt idx="9">
                  <c:v>Carrefour Kefir 500g</c:v>
                </c:pt>
                <c:pt idx="10">
                  <c:v>Carrefour Proteína Plátano 400g</c:v>
                </c:pt>
              </c:strCache>
            </c:strRef>
          </c:cat>
          <c:val>
            <c:numRef>
              <c:f>Sheet1!$B$2:$B$12</c:f>
              <c:numCache>
                <c:formatCode>General</c:formatCode>
                <c:ptCount val="11"/>
                <c:pt idx="0">
                  <c:v>0.06215041787918134</c:v>
                </c:pt>
                <c:pt idx="1">
                  <c:v>0.09790679067527852</c:v>
                </c:pt>
                <c:pt idx="2">
                  <c:v>0.046090068520395475</c:v>
                </c:pt>
                <c:pt idx="3">
                  <c:v>0.0216541863188346</c:v>
                </c:pt>
                <c:pt idx="4">
                  <c:v>0.047314069668240394</c:v>
                </c:pt>
                <c:pt idx="5">
                  <c:v>0.019040735811071404</c:v>
                </c:pt>
                <c:pt idx="6">
                  <c:v>0.035206094471621145</c:v>
                </c:pt>
                <c:pt idx="7">
                  <c:v>0.007602091261481532</c:v>
                </c:pt>
                <c:pt idx="8">
                  <c:v>0.012353147457546157</c:v>
                </c:pt>
                <c:pt idx="9">
                  <c:v>0.008140211385157643</c:v>
                </c:pt>
                <c:pt idx="10">
                  <c:v>0.006305675165314508</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Danone Smartfood Vainilla 500ml</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CF6-426D-AECF-CFB74E12454F}"/>
              </c:ext>
            </c:extLst>
          </c:dPt>
          <c:dPt>
            <c:idx val="1"/>
            <c:invertIfNegative val="1"/>
            <c:bubble3D val="0"/>
            <c:spPr>
              <a:solidFill>
                <a:srgbClr val="E6E5E5"/>
              </a:solidFill>
            </c:spPr>
            <c:extLst>
              <c:ext xmlns:c16="http://schemas.microsoft.com/office/drawing/2014/chart" uri="{C3380CC4-5D6E-409C-BE32-E72D297353CC}">
                <c16:uniqueId val="{00000003-4CF6-426D-AECF-CFB74E12454F}"/>
              </c:ext>
            </c:extLst>
          </c:dPt>
          <c:dPt>
            <c:idx val="2"/>
            <c:invertIfNegative val="1"/>
            <c:bubble3D val="0"/>
            <c:spPr>
              <a:solidFill>
                <a:srgbClr val="E6E5E5"/>
              </a:solidFill>
            </c:spPr>
            <c:extLst>
              <c:ext xmlns:c16="http://schemas.microsoft.com/office/drawing/2014/chart" uri="{C3380CC4-5D6E-409C-BE32-E72D297353CC}">
                <c16:uniqueId val="{00000005-4CF6-426D-AECF-CFB74E12454F}"/>
              </c:ext>
            </c:extLst>
          </c:dPt>
          <c:dPt>
            <c:idx val="3"/>
            <c:invertIfNegative val="1"/>
            <c:bubble3D val="0"/>
            <c:spPr>
              <a:solidFill>
                <a:srgbClr val="E6E5E5"/>
              </a:solidFill>
            </c:spPr>
            <c:extLst>
              <c:ext xmlns:c16="http://schemas.microsoft.com/office/drawing/2014/chart" uri="{C3380CC4-5D6E-409C-BE32-E72D297353CC}">
                <c16:uniqueId val="{00000007-4CF6-426D-AECF-CFB74E12454F}"/>
              </c:ext>
            </c:extLst>
          </c:dPt>
          <c:dPt>
            <c:idx val="4"/>
            <c:invertIfNegative val="1"/>
            <c:bubble3D val="0"/>
            <c:spPr>
              <a:solidFill>
                <a:srgbClr val="E6E5E5"/>
              </a:solidFill>
            </c:spPr>
            <c:extLst>
              <c:ext xmlns:c16="http://schemas.microsoft.com/office/drawing/2014/chart" uri="{C3380CC4-5D6E-409C-BE32-E72D297353CC}">
                <c16:uniqueId val="{00000009-4CF6-426D-AECF-CFB74E12454F}"/>
              </c:ext>
            </c:extLst>
          </c:dPt>
          <c:dPt>
            <c:idx val="5"/>
            <c:invertIfNegative val="1"/>
            <c:bubble3D val="0"/>
            <c:spPr>
              <a:solidFill>
                <a:srgbClr val="E6E5E5"/>
              </a:solidFill>
            </c:spPr>
            <c:extLst>
              <c:ext xmlns:c16="http://schemas.microsoft.com/office/drawing/2014/chart" uri="{C3380CC4-5D6E-409C-BE32-E72D297353CC}">
                <c16:uniqueId val="{0000000B-4CF6-426D-AECF-CFB74E12454F}"/>
              </c:ext>
            </c:extLst>
          </c:dPt>
          <c:dPt>
            <c:idx val="6"/>
            <c:invertIfNegative val="1"/>
            <c:bubble3D val="0"/>
            <c:spPr>
              <a:solidFill>
                <a:srgbClr val="E6E5E5"/>
              </a:solidFill>
            </c:spPr>
            <c:extLst>
              <c:ext xmlns:c16="http://schemas.microsoft.com/office/drawing/2014/chart" uri="{C3380CC4-5D6E-409C-BE32-E72D297353CC}">
                <c16:uniqueId val="{0000000D-4CF6-426D-AECF-CFB74E12454F}"/>
              </c:ext>
            </c:extLst>
          </c:dPt>
          <c:dPt>
            <c:idx val="7"/>
            <c:invertIfNegative val="1"/>
            <c:bubble3D val="0"/>
            <c:spPr>
              <a:solidFill>
                <a:srgbClr val="E6E5E5"/>
              </a:solidFill>
            </c:spPr>
            <c:extLst>
              <c:ext xmlns:c16="http://schemas.microsoft.com/office/drawing/2014/chart" uri="{C3380CC4-5D6E-409C-BE32-E72D297353CC}">
                <c16:uniqueId val="{00000000-2DEF-4275-BB7F-2A2402E29FCF}"/>
              </c:ext>
            </c:extLst>
          </c:dPt>
          <c:dPt>
            <c:idx val="8"/>
            <c:invertIfNegative val="1"/>
            <c:bubble3D val="0"/>
            <c:spPr>
              <a:solidFill>
                <a:srgbClr val="E6E5E5"/>
              </a:solidFill>
            </c:spPr>
            <c:extLst>
              <c:ext xmlns:c16="http://schemas.microsoft.com/office/drawing/2014/chart" uri="{C3380CC4-5D6E-409C-BE32-E72D297353CC}">
                <c16:uniqueId val="{00000001-2DEF-4275-BB7F-2A2402E29FCF}"/>
              </c:ext>
            </c:extLst>
          </c:dPt>
          <c:dPt>
            <c:idx val="9"/>
            <c:invertIfNegative val="1"/>
            <c:bubble3D val="0"/>
            <c:spPr>
              <a:solidFill>
                <a:srgbClr val="E6E5E5"/>
              </a:solidFill>
            </c:spPr>
            <c:extLst>
              <c:ext xmlns:c16="http://schemas.microsoft.com/office/drawing/2014/chart" uri="{C3380CC4-5D6E-409C-BE32-E72D297353CC}">
                <c16:uniqueId val="{00000002-2DEF-4275-BB7F-2A2402E29FCF}"/>
              </c:ext>
            </c:extLst>
          </c:dPt>
          <c:dPt>
            <c:idx val="10"/>
            <c:invertIfNegative val="1"/>
            <c:bubble3D val="0"/>
            <c:spPr>
              <a:solidFill>
                <a:srgbClr val="E6E5E5"/>
              </a:solidFill>
            </c:spPr>
            <c:extLst>
              <c:ext xmlns:c16="http://schemas.microsoft.com/office/drawing/2014/chart" uri="{C3380CC4-5D6E-409C-BE32-E72D297353CC}">
                <c16:uniqueId val="{00000003-2DEF-4275-BB7F-2A2402E29FCF}"/>
              </c:ext>
            </c:extLst>
          </c:dPt>
          <c:dPt>
            <c:idx val="11"/>
            <c:invertIfNegative val="1"/>
            <c:bubble3D val="0"/>
            <c:spPr>
              <a:solidFill>
                <a:srgbClr val="E6E5E5"/>
              </a:solidFill>
            </c:spPr>
            <c:extLst>
              <c:ext xmlns:c16="http://schemas.microsoft.com/office/drawing/2014/chart" uri="{C3380CC4-5D6E-409C-BE32-E72D297353CC}">
                <c16:uniqueId val="{00000017-4CF6-426D-AECF-CFB74E12454F}"/>
              </c:ext>
            </c:extLst>
          </c:dPt>
          <c:dPt>
            <c:idx val="12"/>
            <c:invertIfNegative val="1"/>
            <c:bubble3D val="0"/>
            <c:spPr>
              <a:solidFill>
                <a:srgbClr val="E6E5E5"/>
              </a:solidFill>
            </c:spPr>
            <c:extLst>
              <c:ext xmlns:c16="http://schemas.microsoft.com/office/drawing/2014/chart" uri="{C3380CC4-5D6E-409C-BE32-E72D297353CC}">
                <c16:uniqueId val="{00000019-4CF6-426D-AECF-CFB74E12454F}"/>
              </c:ext>
            </c:extLst>
          </c:dPt>
          <c:dPt>
            <c:idx val="13"/>
            <c:invertIfNegative val="1"/>
            <c:bubble3D val="0"/>
            <c:spPr>
              <a:solidFill>
                <a:srgbClr val="E6E5E5"/>
              </a:solidFill>
            </c:spPr>
            <c:extLst>
              <c:ext xmlns:c16="http://schemas.microsoft.com/office/drawing/2014/chart" uri="{C3380CC4-5D6E-409C-BE32-E72D297353CC}">
                <c16:uniqueId val="{0000001B-4CF6-426D-AECF-CFB74E12454F}"/>
              </c:ext>
            </c:extLst>
          </c:dPt>
          <c:dPt>
            <c:idx val="14"/>
            <c:invertIfNegative val="1"/>
            <c:bubble3D val="0"/>
            <c:spPr>
              <a:solidFill>
                <a:srgbClr val="E6E5E5"/>
              </a:solidFill>
            </c:spPr>
            <c:extLst>
              <c:ext xmlns:c16="http://schemas.microsoft.com/office/drawing/2014/chart" uri="{C3380CC4-5D6E-409C-BE32-E72D297353CC}">
                <c16:uniqueId val="{0000001D-4CF6-426D-AECF-CFB74E12454F}"/>
              </c:ext>
            </c:extLst>
          </c:dPt>
          <c:dPt>
            <c:idx val="15"/>
            <c:invertIfNegative val="1"/>
            <c:bubble3D val="0"/>
            <c:spPr>
              <a:solidFill>
                <a:srgbClr val="E6E5E5"/>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Carrefour Griego Natural 1000g</c:v>
                </c:pt>
                <c:pt idx="1">
                  <c:v>Carrefour Griego Natural 6x125g</c:v>
                </c:pt>
                <c:pt idx="2">
                  <c:v>Carrefour Natural 8x125g</c:v>
                </c:pt>
                <c:pt idx="3">
                  <c:v>Alpro Coco 400g</c:v>
                </c:pt>
                <c:pt idx="4">
                  <c:v>Danone Natural 8x120g</c:v>
                </c:pt>
                <c:pt idx="5">
                  <c:v>Danone Fresa 4x120g</c:v>
                </c:pt>
                <c:pt idx="6">
                  <c:v>Carrefour Griego Stracciatella 6x125g</c:v>
                </c:pt>
                <c:pt idx="7">
                  <c:v>Carrefour Sabores Mix 16x125g</c:v>
                </c:pt>
                <c:pt idx="8">
                  <c:v>Carrefour L-Casei Fresa/Plátano y Piña/Coco 12x100g</c:v>
                </c:pt>
                <c:pt idx="9">
                  <c:v>Carrefour Kefir 500g</c:v>
                </c:pt>
                <c:pt idx="10">
                  <c:v>Carrefour Proteína Plátano 400g</c:v>
                </c:pt>
              </c:strCache>
            </c:strRef>
          </c:cat>
          <c:val>
            <c:numRef>
              <c:f>Sheet1!$B$2:$B$12</c:f>
              <c:numCache>
                <c:formatCode>General</c:formatCode>
                <c:ptCount val="11"/>
                <c:pt idx="0">
                  <c:v>0.042684636662534046</c:v>
                </c:pt>
                <c:pt idx="1">
                  <c:v>0.05142274074955115</c:v>
                </c:pt>
                <c:pt idx="2">
                  <c:v>0.07315921369494742</c:v>
                </c:pt>
                <c:pt idx="3">
                  <c:v>0.029386801169504713</c:v>
                </c:pt>
                <c:pt idx="4">
                  <c:v>0.03268891888022837</c:v>
                </c:pt>
                <c:pt idx="5">
                  <c:v>0.058826328921678286</c:v>
                </c:pt>
                <c:pt idx="6">
                  <c:v>0.031037218900055515</c:v>
                </c:pt>
                <c:pt idx="7">
                  <c:v>0.05062795639900207</c:v>
                </c:pt>
                <c:pt idx="8">
                  <c:v>0.029982067760743327</c:v>
                </c:pt>
                <c:pt idx="9">
                  <c:v>0.01585282036879304</c:v>
                </c:pt>
                <c:pt idx="10">
                  <c:v>0.009799100534300604</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8.0536282863718032E-3"/>
          <c:w val="0.96518562554386689"/>
          <c:h val="0.98008834615658758"/>
        </c:manualLayout>
      </c:layout>
      <c:barChart>
        <c:barDir val="bar"/>
        <c:grouping val="clustered"/>
        <c:varyColors val="0"/>
        <c:ser>
          <c:idx val="2"/>
          <c:order val="0"/>
          <c:tx>
            <c:strRef>
              <c:f>Sheet1!$B$1</c:f>
              <c:strCache>
                <c:ptCount val="1"/>
                <c:pt idx="0">
                  <c:v>Danonino Fresa 12x5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Carrefour Sabores Mix 16x125g</c:v>
                </c:pt>
                <c:pt idx="1">
                  <c:v>Carrefour L-Casei Fresa/Plátano y Piña/Coco 12x100g</c:v>
                </c:pt>
                <c:pt idx="2">
                  <c:v>Actimel Fresa 6x100g</c:v>
                </c:pt>
                <c:pt idx="3">
                  <c:v>Danonino Fresa 4x100g</c:v>
                </c:pt>
                <c:pt idx="4">
                  <c:v>Danone Fresa 4x120g</c:v>
                </c:pt>
                <c:pt idx="5">
                  <c:v>Danonino Fresa 6x50g</c:v>
                </c:pt>
                <c:pt idx="6">
                  <c:v>Carrefour Fresa &amp; Plátano 8x125g</c:v>
                </c:pt>
                <c:pt idx="7">
                  <c:v>Carrefour Griego Fresa 6x125g</c:v>
                </c:pt>
                <c:pt idx="8">
                  <c:v>Carrefour Fresa 0% 6x125g</c:v>
                </c:pt>
                <c:pt idx="9">
                  <c:v>Carrefour Griego Stracciatella 6x125g</c:v>
                </c:pt>
                <c:pt idx="10">
                  <c:v>Carrefour Sabores Mix 12x125g</c:v>
                </c:pt>
              </c:strCache>
            </c:strRef>
          </c:cat>
          <c:val>
            <c:numRef>
              <c:f>Sheet1!$B$2:$B$12</c:f>
              <c:numCache>
                <c:formatCode>General</c:formatCode>
                <c:ptCount val="11"/>
                <c:pt idx="0">
                  <c:v>0.1653067813651086</c:v>
                </c:pt>
                <c:pt idx="1">
                  <c:v>0.11182372720194098</c:v>
                </c:pt>
                <c:pt idx="2">
                  <c:v>0.0767434755416931</c:v>
                </c:pt>
                <c:pt idx="3">
                  <c:v>0.07006053583955087</c:v>
                </c:pt>
                <c:pt idx="4">
                  <c:v>0.06628939982032711</c:v>
                </c:pt>
                <c:pt idx="5">
                  <c:v>0.062211710134237264</c:v>
                </c:pt>
                <c:pt idx="6">
                  <c:v>0.054887217732374496</c:v>
                </c:pt>
                <c:pt idx="7">
                  <c:v>0.054573378125309976</c:v>
                </c:pt>
                <c:pt idx="8">
                  <c:v>0.04057037126436858</c:v>
                </c:pt>
                <c:pt idx="9">
                  <c:v>0.03930910243161929</c:v>
                </c:pt>
                <c:pt idx="10">
                  <c:v>0.02845088712363864</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Oikos Griego Natural 0% 90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Carrefour Griego Natural 1000g</c:v>
                </c:pt>
                <c:pt idx="1">
                  <c:v>Carrefour Griego Natural 6x125g</c:v>
                </c:pt>
                <c:pt idx="2">
                  <c:v>Oikos Griego Natural 4x110g</c:v>
                </c:pt>
                <c:pt idx="3">
                  <c:v>Carrefour Natural 8x125g</c:v>
                </c:pt>
                <c:pt idx="4">
                  <c:v>Alpro Coco 400g</c:v>
                </c:pt>
                <c:pt idx="5">
                  <c:v>Oikos Griego Natural 900g</c:v>
                </c:pt>
                <c:pt idx="6">
                  <c:v>Danone Natural 8x120g</c:v>
                </c:pt>
                <c:pt idx="7">
                  <c:v>Oikos Griego Fresa 4x110g</c:v>
                </c:pt>
                <c:pt idx="8">
                  <c:v>El Pastoret Kefir Natural 500g</c:v>
                </c:pt>
                <c:pt idx="9">
                  <c:v>Danone Fresa 4x120g</c:v>
                </c:pt>
                <c:pt idx="10">
                  <c:v>Carrefour Kefir 500g</c:v>
                </c:pt>
              </c:strCache>
            </c:strRef>
          </c:cat>
          <c:val>
            <c:numRef>
              <c:f>Sheet1!$B$2:$B$12</c:f>
              <c:numCache>
                <c:formatCode>General</c:formatCode>
                <c:ptCount val="11"/>
                <c:pt idx="0">
                  <c:v>0.1800986640399335</c:v>
                </c:pt>
                <c:pt idx="1">
                  <c:v>0.039795125436031545</c:v>
                </c:pt>
                <c:pt idx="2">
                  <c:v>0.05116811108837852</c:v>
                </c:pt>
                <c:pt idx="3">
                  <c:v>0.04027869504402209</c:v>
                </c:pt>
                <c:pt idx="4">
                  <c:v>0.045875494571947735</c:v>
                </c:pt>
                <c:pt idx="5">
                  <c:v>0.043516186414249945</c:v>
                </c:pt>
                <c:pt idx="6">
                  <c:v>0.03296661794248379</c:v>
                </c:pt>
                <c:pt idx="7">
                  <c:v>0.03351548798689623</c:v>
                </c:pt>
                <c:pt idx="8">
                  <c:v>0.026313321323229413</c:v>
                </c:pt>
                <c:pt idx="9">
                  <c:v>0.026112934047684975</c:v>
                </c:pt>
                <c:pt idx="10">
                  <c:v>0.01598417878328248</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Oikos Griego Natural 500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Carrefour Griego Natural 1000g</c:v>
                </c:pt>
                <c:pt idx="1">
                  <c:v>Carrefour Griego Natural 6x125g</c:v>
                </c:pt>
                <c:pt idx="2">
                  <c:v>Oikos Griego Natural 4x110g</c:v>
                </c:pt>
                <c:pt idx="3">
                  <c:v>Carrefour Natural 8x125g</c:v>
                </c:pt>
                <c:pt idx="4">
                  <c:v>Alpro Coco 400g</c:v>
                </c:pt>
                <c:pt idx="5">
                  <c:v>Oikos Griego Natural 900g</c:v>
                </c:pt>
                <c:pt idx="6">
                  <c:v>Danone Natural 8x120g</c:v>
                </c:pt>
                <c:pt idx="7">
                  <c:v>Oikos Griego Fresa 4x110g</c:v>
                </c:pt>
                <c:pt idx="8">
                  <c:v>El Pastoret Kefir Natural 500g</c:v>
                </c:pt>
                <c:pt idx="9">
                  <c:v>Danone Fresa 4x120g</c:v>
                </c:pt>
                <c:pt idx="10">
                  <c:v>Carrefour Kefir 500g</c:v>
                </c:pt>
              </c:strCache>
            </c:strRef>
          </c:cat>
          <c:val>
            <c:numRef>
              <c:f>Sheet1!$B$2:$B$12</c:f>
              <c:numCache>
                <c:formatCode>General</c:formatCode>
                <c:ptCount val="11"/>
                <c:pt idx="0">
                  <c:v>0.14502215171087823</c:v>
                </c:pt>
                <c:pt idx="1">
                  <c:v>0.08206849760653112</c:v>
                </c:pt>
                <c:pt idx="2">
                  <c:v>0.06679503762649104</c:v>
                </c:pt>
                <c:pt idx="3">
                  <c:v>0.04963739486142011</c:v>
                </c:pt>
                <c:pt idx="4">
                  <c:v>0.027957305791274135</c:v>
                </c:pt>
                <c:pt idx="5">
                  <c:v>0.02309547470491031</c:v>
                </c:pt>
                <c:pt idx="6">
                  <c:v>0.02888219290795451</c:v>
                </c:pt>
                <c:pt idx="7">
                  <c:v>0.027532578298085496</c:v>
                </c:pt>
                <c:pt idx="8">
                  <c:v>0.03019893711600814</c:v>
                </c:pt>
                <c:pt idx="9">
                  <c:v>0.02318405661615051</c:v>
                </c:pt>
                <c:pt idx="10">
                  <c:v>0.030022176384605886</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Alpro Meal to Go Chocolate 500ml</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C00000"/>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r>
                      <a:rPr sz="500">
                        <a:solidFill>
                          <a:srgbClr val="C00000"/>
                        </a:solidFill>
                      </a:rPr>
                      <a:t>Alpro Meal to Go Chocolate 5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9</c:f>
              <c:strCache>
                <c:ptCount val="88"/>
                <c:pt idx="0">
                  <c:v>Carrefour Natural 8x125g</c:v>
                </c:pt>
                <c:pt idx="1">
                  <c:v>Danone Fresa 4x120g</c:v>
                </c:pt>
                <c:pt idx="2">
                  <c:v>Carrefour Griego Natural 6x125g</c:v>
                </c:pt>
                <c:pt idx="3">
                  <c:v>Carrefour Sabores Mix 16x125g</c:v>
                </c:pt>
                <c:pt idx="4">
                  <c:v>Carrefour Griego Natural 1000g</c:v>
                </c:pt>
                <c:pt idx="5">
                  <c:v>Danone Natural 8x120g</c:v>
                </c:pt>
                <c:pt idx="6">
                  <c:v>Carrefour Griego Stracciatella 6x125g</c:v>
                </c:pt>
                <c:pt idx="7">
                  <c:v>Carrefour Griego Fresa 6x125g</c:v>
                </c:pt>
                <c:pt idx="8">
                  <c:v>Alpro Coco 400g</c:v>
                </c:pt>
                <c:pt idx="9">
                  <c:v>Carrefour L-Casei Fresa/Plátano y Piña/Coco 12x100g</c:v>
                </c:pt>
                <c:pt idx="10">
                  <c:v>Activia Natural 0% 8x120g</c:v>
                </c:pt>
                <c:pt idx="11">
                  <c:v>Actimel Fresa 6x100g</c:v>
                </c:pt>
                <c:pt idx="12">
                  <c:v>Carrefour Kefir 500g</c:v>
                </c:pt>
                <c:pt idx="13">
                  <c:v>Carrefour Fresa &amp; Plátano 8x125g</c:v>
                </c:pt>
                <c:pt idx="14">
                  <c:v>Carrefour Bifidus Fresa 0% 4x125g</c:v>
                </c:pt>
                <c:pt idx="15">
                  <c:v>Danone Mix Coco/Fresa/Frutos del Bosque/Macedoine 8x120g</c:v>
                </c:pt>
                <c:pt idx="16">
                  <c:v>Activia Natural 0% 16x120g</c:v>
                </c:pt>
                <c:pt idx="17">
                  <c:v>Activia Melocotón 0% 4x120g</c:v>
                </c:pt>
                <c:pt idx="18">
                  <c:v>Activia Natural 8x120g</c:v>
                </c:pt>
                <c:pt idx="19">
                  <c:v>Oikos Griego Natural 4x110g</c:v>
                </c:pt>
                <c:pt idx="20">
                  <c:v>Carrefour Natural 0% 6x125g</c:v>
                </c:pt>
                <c:pt idx="21">
                  <c:v>Danone Griego Stracciatella 4x110g</c:v>
                </c:pt>
                <c:pt idx="22">
                  <c:v>Vitalinea Fresa 0% 4x120g</c:v>
                </c:pt>
                <c:pt idx="23">
                  <c:v>Activia Cremoso Fresa 4x115g</c:v>
                </c:pt>
                <c:pt idx="24">
                  <c:v>Danone Proteína Stracciatella 4x105g</c:v>
                </c:pt>
                <c:pt idx="25">
                  <c:v>Danacol Limón 6x100g</c:v>
                </c:pt>
                <c:pt idx="26">
                  <c:v>Oikos Griego Fresa 4x110g</c:v>
                </c:pt>
                <c:pt idx="27">
                  <c:v>Activia Avena Nueces 4x115g</c:v>
                </c:pt>
                <c:pt idx="28">
                  <c:v>Danone Griego Natural 4x110g</c:v>
                </c:pt>
                <c:pt idx="29">
                  <c:v>La Lechera Fresa 2x125g</c:v>
                </c:pt>
                <c:pt idx="30">
                  <c:v>Carrefour Fresa 0% 6x125g</c:v>
                </c:pt>
                <c:pt idx="31">
                  <c:v>Activia Natural 0% 4x120g</c:v>
                </c:pt>
                <c:pt idx="32">
                  <c:v>Carrefour Bifidus Natural 0% 6x125g</c:v>
                </c:pt>
                <c:pt idx="33">
                  <c:v>Danonino Fresa 4x100g</c:v>
                </c:pt>
                <c:pt idx="34">
                  <c:v>Carrefour Sabores Mix 12x125g</c:v>
                </c:pt>
                <c:pt idx="35">
                  <c:v>Carrefour Proteína Plátano 400g</c:v>
                </c:pt>
                <c:pt idx="36">
                  <c:v>Actimel Natural 0% 6x100g</c:v>
                </c:pt>
                <c:pt idx="37">
                  <c:v>Carrefour Bifidus Muesli 0% 4x125g</c:v>
                </c:pt>
                <c:pt idx="38">
                  <c:v>YoPro Fresa 300g</c:v>
                </c:pt>
                <c:pt idx="39">
                  <c:v>Carrefour Bifidus Frutos Rojos 4x125g</c:v>
                </c:pt>
                <c:pt idx="40">
                  <c:v>Danonino Fresa 6x50g</c:v>
                </c:pt>
                <c:pt idx="41">
                  <c:v>Danacol Natural 6x100g</c:v>
                </c:pt>
                <c:pt idx="42">
                  <c:v>Carrefour Kefir Mango Líquido 500g</c:v>
                </c:pt>
                <c:pt idx="43">
                  <c:v>Activia Cremoso Lima/Limón 4x115g</c:v>
                </c:pt>
                <c:pt idx="44">
                  <c:v>Carrefour Natural Líquido 500g</c:v>
                </c:pt>
                <c:pt idx="45">
                  <c:v>Carrefour Petit Fresa y Plátano 12x60g</c:v>
                </c:pt>
                <c:pt idx="46">
                  <c:v>El Pastoret Melocotón y Maracuyá 500g</c:v>
                </c:pt>
                <c:pt idx="47">
                  <c:v>Carrefour Actuàlcol Tropical 8x100g</c:v>
                </c:pt>
                <c:pt idx="48">
                  <c:v>Carrefour L-Casei Fresa 0% 6x100g</c:v>
                </c:pt>
                <c:pt idx="49">
                  <c:v>El Pastoret Kefir Natural 500g</c:v>
                </c:pt>
                <c:pt idx="50">
                  <c:v>Danone Proteína Fresa 0% 270g</c:v>
                </c:pt>
                <c:pt idx="51">
                  <c:v>Alpro Meal to Go Chocolate 500ml</c:v>
                </c:pt>
                <c:pt idx="52">
                  <c:v>Alpro Skyr Fresa 400g</c:v>
                </c:pt>
                <c:pt idx="53">
                  <c:v>Actimel Natural 12x100g</c:v>
                </c:pt>
                <c:pt idx="54">
                  <c:v>Nestlé Kefir Natural 6x100g</c:v>
                </c:pt>
                <c:pt idx="55">
                  <c:v>Danonino Fresa 4x70g</c:v>
                </c:pt>
                <c:pt idx="56">
                  <c:v>Danone Proteína Chocolate 4x120g</c:v>
                </c:pt>
                <c:pt idx="57">
                  <c:v>Activia Muesli 0% 4x115g</c:v>
                </c:pt>
                <c:pt idx="58">
                  <c:v>Carrefour Kefir Natural 4x125g</c:v>
                </c:pt>
                <c:pt idx="59">
                  <c:v>Danacol Natural 12x100g</c:v>
                </c:pt>
                <c:pt idx="60">
                  <c:v>Carrefour Soja Natural 6x100g</c:v>
                </c:pt>
                <c:pt idx="61">
                  <c:v>YoPro Pudding Chocolate 180g</c:v>
                </c:pt>
                <c:pt idx="62">
                  <c:v>Oikos Griego Natural 900g</c:v>
                </c:pt>
                <c:pt idx="63">
                  <c:v>Danone Original Fresa 2x130g</c:v>
                </c:pt>
                <c:pt idx="64">
                  <c:v>Nestlé Nesquik 6x60g</c:v>
                </c:pt>
                <c:pt idx="65">
                  <c:v>Activia Piña 0% 4x120g</c:v>
                </c:pt>
                <c:pt idx="66">
                  <c:v>Danone Griego Manzana Canela 4x110g</c:v>
                </c:pt>
                <c:pt idx="67">
                  <c:v>Oikos Griego Caramelo 2x110g</c:v>
                </c:pt>
                <c:pt idx="68">
                  <c:v>Nestlé Kit Kat 2x115g</c:v>
                </c:pt>
                <c:pt idx="69">
                  <c:v>Carrefour Flan Huevo Proteico 2x160g</c:v>
                </c:pt>
                <c:pt idx="70">
                  <c:v>Alpro Arándanos/Fruitas Rojos 4x125g</c:v>
                </c:pt>
                <c:pt idx="71">
                  <c:v>La Fageda Natural 4x125g</c:v>
                </c:pt>
                <c:pt idx="72">
                  <c:v>Carrefour Pudding Chocolate 200g</c:v>
                </c:pt>
                <c:pt idx="73">
                  <c:v>Danone Original 2x130g</c:v>
                </c:pt>
                <c:pt idx="74">
                  <c:v>Activia Kefir Natural 345g</c:v>
                </c:pt>
                <c:pt idx="75">
                  <c:v>Activia Kefir Arándanos 320g</c:v>
                </c:pt>
                <c:pt idx="76">
                  <c:v>Nestlé Smarties 2x128g</c:v>
                </c:pt>
                <c:pt idx="77">
                  <c:v>Alpro Postre Chocolate Negro 4x125g</c:v>
                </c:pt>
                <c:pt idx="78">
                  <c:v>Carrefour Skyr Natural 150g</c:v>
                </c:pt>
                <c:pt idx="79">
                  <c:v>YoPro Natural 480g</c:v>
                </c:pt>
                <c:pt idx="80">
                  <c:v>YoPro Arándanos 4x120g</c:v>
                </c:pt>
                <c:pt idx="81">
                  <c:v>Carrefour Kefir Avena Nueces 4x125g</c:v>
                </c:pt>
                <c:pt idx="82">
                  <c:v>Kaiku Natural Sin Lactose 4x125g</c:v>
                </c:pt>
                <c:pt idx="83">
                  <c:v>Reina Mousse Chocolate 2x100g</c:v>
                </c:pt>
                <c:pt idx="84">
                  <c:v>La Fageda Natural Azucarado 4x125g</c:v>
                </c:pt>
                <c:pt idx="85">
                  <c:v>Nestlé Kefir 150g</c:v>
                </c:pt>
                <c:pt idx="86">
                  <c:v>Danone Choco Flakes 102g</c:v>
                </c:pt>
                <c:pt idx="87">
                  <c:v>Valio Profeel Chocolate 180g</c:v>
                </c:pt>
              </c:strCache>
            </c:strRef>
          </c:cat>
          <c:val>
            <c:numRef>
              <c:f>Sheet1!$B$2:$B$89</c:f>
              <c:numCache>
                <c:formatCode>General</c:formatCode>
                <c:ptCount val="88"/>
                <c:pt idx="0">
                  <c:v>0.08917282879684081</c:v>
                </c:pt>
                <c:pt idx="1">
                  <c:v>0.0698385558449081</c:v>
                </c:pt>
                <c:pt idx="2">
                  <c:v>0.06059605226610572</c:v>
                </c:pt>
                <c:pt idx="3">
                  <c:v>0.057285860140958905</c:v>
                </c:pt>
                <c:pt idx="4">
                  <c:v>0.045629119916147286</c:v>
                </c:pt>
                <c:pt idx="5">
                  <c:v>0.03657885000771225</c:v>
                </c:pt>
                <c:pt idx="6">
                  <c:v>0.03234626035333306</c:v>
                </c:pt>
                <c:pt idx="7">
                  <c:v>0.03227699064315196</c:v>
                </c:pt>
                <c:pt idx="8">
                  <c:v>0.030846831862205167</c:v>
                </c:pt>
                <c:pt idx="9">
                  <c:v>0.029922369283039534</c:v>
                </c:pt>
                <c:pt idx="10">
                  <c:v>0.02357520261444629</c:v>
                </c:pt>
                <c:pt idx="11">
                  <c:v>0.020795364003394233</c:v>
                </c:pt>
                <c:pt idx="12">
                  <c:v>0.018865454608378976</c:v>
                </c:pt>
                <c:pt idx="13">
                  <c:v>0.016849764229715052</c:v>
                </c:pt>
                <c:pt idx="14">
                  <c:v>0.015923708127221953</c:v>
                </c:pt>
                <c:pt idx="15">
                  <c:v>0.015309065335881092</c:v>
                </c:pt>
                <c:pt idx="16">
                  <c:v>0.015079503265172324</c:v>
                </c:pt>
                <c:pt idx="17">
                  <c:v>0.014729032068622621</c:v>
                </c:pt>
                <c:pt idx="18">
                  <c:v>0.013802830117041727</c:v>
                </c:pt>
                <c:pt idx="19">
                  <c:v>0.013002515456523027</c:v>
                </c:pt>
                <c:pt idx="20">
                  <c:v>0.01273417194641256</c:v>
                </c:pt>
                <c:pt idx="21">
                  <c:v>0.01136051749861437</c:v>
                </c:pt>
                <c:pt idx="22">
                  <c:v>0.011359755798954433</c:v>
                </c:pt>
                <c:pt idx="23">
                  <c:v>0.01125474022642343</c:v>
                </c:pt>
                <c:pt idx="24">
                  <c:v>0.010027729988562148</c:v>
                </c:pt>
                <c:pt idx="25">
                  <c:v>0.009853189946129638</c:v>
                </c:pt>
                <c:pt idx="26">
                  <c:v>0.009699344715484639</c:v>
                </c:pt>
                <c:pt idx="27">
                  <c:v>0.009600024788080896</c:v>
                </c:pt>
                <c:pt idx="28">
                  <c:v>0.009452615045017352</c:v>
                </c:pt>
                <c:pt idx="29">
                  <c:v>0.008433536074021699</c:v>
                </c:pt>
                <c:pt idx="30">
                  <c:v>0.008268059007081607</c:v>
                </c:pt>
                <c:pt idx="31">
                  <c:v>0.007739749632905497</c:v>
                </c:pt>
                <c:pt idx="32">
                  <c:v>0.007303371111780144</c:v>
                </c:pt>
                <c:pt idx="33">
                  <c:v>0.007260409168306354</c:v>
                </c:pt>
                <c:pt idx="34">
                  <c:v>0.007241979127149625</c:v>
                </c:pt>
                <c:pt idx="35">
                  <c:v>0.0071996800869940395</c:v>
                </c:pt>
                <c:pt idx="36">
                  <c:v>0.007143110119627188</c:v>
                </c:pt>
                <c:pt idx="37">
                  <c:v>0.007078873839652318</c:v>
                </c:pt>
                <c:pt idx="38">
                  <c:v>0.0069328667832783365</c:v>
                </c:pt>
                <c:pt idx="39">
                  <c:v>0.006877166297017416</c:v>
                </c:pt>
                <c:pt idx="40">
                  <c:v>0.006817183773691935</c:v>
                </c:pt>
                <c:pt idx="41">
                  <c:v>0.006540042961916744</c:v>
                </c:pt>
                <c:pt idx="42">
                  <c:v>0.006276523509100124</c:v>
                </c:pt>
                <c:pt idx="43">
                  <c:v>0.00618396237538364</c:v>
                </c:pt>
                <c:pt idx="44">
                  <c:v>0.005995586180469898</c:v>
                </c:pt>
                <c:pt idx="45">
                  <c:v>0.005966110596631801</c:v>
                </c:pt>
                <c:pt idx="46">
                  <c:v>0.005714815359157289</c:v>
                </c:pt>
                <c:pt idx="47">
                  <c:v>0.0056959419818957985</c:v>
                </c:pt>
                <c:pt idx="48">
                  <c:v>0.005577311500783116</c:v>
                </c:pt>
                <c:pt idx="49">
                  <c:v>0.005269027190076532</c:v>
                </c:pt>
                <c:pt idx="50">
                  <c:v>0.0050226836077225</c:v>
                </c:pt>
                <c:pt idx="51">
                  <c:v>0.004901321560729598</c:v>
                </c:pt>
                <c:pt idx="52">
                  <c:v>0.004689738897507378</c:v>
                </c:pt>
                <c:pt idx="53">
                  <c:v>0.00464579647898732</c:v>
                </c:pt>
                <c:pt idx="54">
                  <c:v>0.004537751178338898</c:v>
                </c:pt>
                <c:pt idx="55">
                  <c:v>0.004537679273011279</c:v>
                </c:pt>
                <c:pt idx="56">
                  <c:v>0.004356904899803826</c:v>
                </c:pt>
                <c:pt idx="57">
                  <c:v>0.004264773461798697</c:v>
                </c:pt>
                <c:pt idx="58">
                  <c:v>0.0041477674687583205</c:v>
                </c:pt>
                <c:pt idx="59">
                  <c:v>0.004030700378030668</c:v>
                </c:pt>
                <c:pt idx="60">
                  <c:v>0.003784991882198719</c:v>
                </c:pt>
                <c:pt idx="61">
                  <c:v>0.003719673897885635</c:v>
                </c:pt>
                <c:pt idx="62">
                  <c:v>0.0036916490074770276</c:v>
                </c:pt>
                <c:pt idx="63">
                  <c:v>0.0034588680790619045</c:v>
                </c:pt>
                <c:pt idx="64">
                  <c:v>0.0032955629400885566</c:v>
                </c:pt>
                <c:pt idx="65">
                  <c:v>0.0032823864727488253</c:v>
                </c:pt>
                <c:pt idx="66">
                  <c:v>0.0032681463781224266</c:v>
                </c:pt>
                <c:pt idx="67">
                  <c:v>0.003058967715235323</c:v>
                </c:pt>
                <c:pt idx="68">
                  <c:v>0.003014717528970031</c:v>
                </c:pt>
                <c:pt idx="69">
                  <c:v>0.002975189263574629</c:v>
                </c:pt>
                <c:pt idx="70">
                  <c:v>0.002948175208197374</c:v>
                </c:pt>
                <c:pt idx="71">
                  <c:v>0.00269242259759589</c:v>
                </c:pt>
                <c:pt idx="72">
                  <c:v>0.0026481066562999735</c:v>
                </c:pt>
                <c:pt idx="73">
                  <c:v>0.0024257857824849112</c:v>
                </c:pt>
                <c:pt idx="74">
                  <c:v>0.002355828361823193</c:v>
                </c:pt>
                <c:pt idx="75">
                  <c:v>0.002070357267953674</c:v>
                </c:pt>
                <c:pt idx="76">
                  <c:v>0.002048483575774417</c:v>
                </c:pt>
                <c:pt idx="77">
                  <c:v>0.0018242340714102487</c:v>
                </c:pt>
                <c:pt idx="78">
                  <c:v>0.0018005082866099369</c:v>
                </c:pt>
                <c:pt idx="79">
                  <c:v>0.0017838340660218366</c:v>
                </c:pt>
                <c:pt idx="80">
                  <c:v>0.0015765712993507557</c:v>
                </c:pt>
                <c:pt idx="81">
                  <c:v>0.001436908438329081</c:v>
                </c:pt>
                <c:pt idx="82">
                  <c:v>0.0013201963415600012</c:v>
                </c:pt>
                <c:pt idx="83">
                  <c:v>0.0012868667842635612</c:v>
                </c:pt>
                <c:pt idx="84">
                  <c:v>0.0010625133486557685</c:v>
                </c:pt>
                <c:pt idx="85">
                  <c:v>0.0009582584345749736</c:v>
                </c:pt>
                <c:pt idx="86">
                  <c:v>0.0009081432741390873</c:v>
                </c:pt>
                <c:pt idx="87">
                  <c:v>0.0008839802635031567</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YoPro Energia/Cafeina 500ml</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Carrefour Natural 8x125g</c:v>
                </c:pt>
                <c:pt idx="1">
                  <c:v>Danone Fresa 4x120g</c:v>
                </c:pt>
                <c:pt idx="2">
                  <c:v>Carrefour Griego Natural 6x125g</c:v>
                </c:pt>
                <c:pt idx="3">
                  <c:v>Carrefour Sabores Mix 16x125g</c:v>
                </c:pt>
                <c:pt idx="4">
                  <c:v>Carrefour Griego Natural 1000g</c:v>
                </c:pt>
                <c:pt idx="5">
                  <c:v>YoPro Fresa 300g</c:v>
                </c:pt>
                <c:pt idx="6">
                  <c:v>Alpro Coco 400g</c:v>
                </c:pt>
                <c:pt idx="7">
                  <c:v>Danone Natural 8x120g</c:v>
                </c:pt>
                <c:pt idx="8">
                  <c:v>Carrefour Griego Stracciatella 6x125g</c:v>
                </c:pt>
                <c:pt idx="9">
                  <c:v>Carrefour L-Casei Fresa/Plátano y Piña/Coco 12x100g</c:v>
                </c:pt>
                <c:pt idx="10">
                  <c:v>Carrefour Griego Fresa 6x125g</c:v>
                </c:pt>
              </c:strCache>
            </c:strRef>
          </c:cat>
          <c:val>
            <c:numRef>
              <c:f>Sheet1!$B$2:$B$12</c:f>
              <c:numCache>
                <c:formatCode>General</c:formatCode>
                <c:ptCount val="11"/>
                <c:pt idx="0">
                  <c:v>0.07013789295873615</c:v>
                </c:pt>
                <c:pt idx="1">
                  <c:v>0.05760121613567815</c:v>
                </c:pt>
                <c:pt idx="2">
                  <c:v>0.04899242821429311</c:v>
                </c:pt>
                <c:pt idx="3">
                  <c:v>0.04730084067456885</c:v>
                </c:pt>
                <c:pt idx="4">
                  <c:v>0.041375701155072935</c:v>
                </c:pt>
                <c:pt idx="5">
                  <c:v>0.01798315336966228</c:v>
                </c:pt>
                <c:pt idx="6">
                  <c:v>0.03106397922325373</c:v>
                </c:pt>
                <c:pt idx="7">
                  <c:v>0.0316412070248481</c:v>
                </c:pt>
                <c:pt idx="8">
                  <c:v>0.02888528192950795</c:v>
                </c:pt>
                <c:pt idx="9">
                  <c:v>0.027518730599881074</c:v>
                </c:pt>
                <c:pt idx="10">
                  <c:v>0.02665656789325703</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YoPro Fresa 3+1x300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Carrefour Natural 8x125g</c:v>
                </c:pt>
                <c:pt idx="1">
                  <c:v>Danone Fresa 4x120g</c:v>
                </c:pt>
                <c:pt idx="2">
                  <c:v>Carrefour Griego Natural 6x125g</c:v>
                </c:pt>
                <c:pt idx="3">
                  <c:v>Carrefour Sabores Mix 16x125g</c:v>
                </c:pt>
                <c:pt idx="4">
                  <c:v>Carrefour Griego Natural 1000g</c:v>
                </c:pt>
                <c:pt idx="5">
                  <c:v>YoPro Fresa 300g</c:v>
                </c:pt>
                <c:pt idx="6">
                  <c:v>Alpro Coco 400g</c:v>
                </c:pt>
                <c:pt idx="7">
                  <c:v>Danone Natural 8x120g</c:v>
                </c:pt>
                <c:pt idx="8">
                  <c:v>Carrefour Griego Stracciatella 6x125g</c:v>
                </c:pt>
                <c:pt idx="9">
                  <c:v>Carrefour L-Casei Fresa/Plátano y Piña/Coco 12x100g</c:v>
                </c:pt>
                <c:pt idx="10">
                  <c:v>Carrefour Griego Fresa 6x125g</c:v>
                </c:pt>
              </c:strCache>
            </c:strRef>
          </c:cat>
          <c:val>
            <c:numRef>
              <c:f>Sheet1!$B$2:$B$12</c:f>
              <c:numCache>
                <c:formatCode>General</c:formatCode>
                <c:ptCount val="11"/>
                <c:pt idx="0">
                  <c:v>0.0534396807095864</c:v>
                </c:pt>
                <c:pt idx="1">
                  <c:v>0.04766697076954041</c:v>
                </c:pt>
                <c:pt idx="2">
                  <c:v>0.038152125827881654</c:v>
                </c:pt>
                <c:pt idx="3">
                  <c:v>0.036717484213011305</c:v>
                </c:pt>
                <c:pt idx="4">
                  <c:v>0.03420743495663107</c:v>
                </c:pt>
                <c:pt idx="5">
                  <c:v>0.04615609061383595</c:v>
                </c:pt>
                <c:pt idx="6">
                  <c:v>0.03147144120000215</c:v>
                </c:pt>
                <c:pt idx="7">
                  <c:v>0.025846398208466476</c:v>
                </c:pt>
                <c:pt idx="8">
                  <c:v>0.023359734715162943</c:v>
                </c:pt>
                <c:pt idx="9">
                  <c:v>0.024626983961100326</c:v>
                </c:pt>
                <c:pt idx="10">
                  <c:v>0.021339458794821773</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Danacol Nueces y Avena 0% 4x115g</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C00000"/>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r>
                      <a:rPr sz="500">
                        <a:solidFill>
                          <a:srgbClr val="C00000"/>
                        </a:solidFill>
                      </a:rPr>
                      <a:t>Danacol Nueces y Avena 0% 4x115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9</c:f>
              <c:strCache>
                <c:ptCount val="88"/>
                <c:pt idx="0">
                  <c:v>Carrefour Natural 8x125g</c:v>
                </c:pt>
                <c:pt idx="1">
                  <c:v>Danone Fresa 4x120g</c:v>
                </c:pt>
                <c:pt idx="2">
                  <c:v>Carrefour Griego Natural 6x125g</c:v>
                </c:pt>
                <c:pt idx="3">
                  <c:v>Carrefour Sabores Mix 16x125g</c:v>
                </c:pt>
                <c:pt idx="4">
                  <c:v>Carrefour Griego Natural 1000g</c:v>
                </c:pt>
                <c:pt idx="5">
                  <c:v>Danone Natural 8x120g</c:v>
                </c:pt>
                <c:pt idx="6">
                  <c:v>Carrefour Griego Stracciatella 6x125g</c:v>
                </c:pt>
                <c:pt idx="7">
                  <c:v>Carrefour Griego Fresa 6x125g</c:v>
                </c:pt>
                <c:pt idx="8">
                  <c:v>Alpro Coco 400g</c:v>
                </c:pt>
                <c:pt idx="9">
                  <c:v>Carrefour L-Casei Fresa/Plátano y Piña/Coco 12x100g</c:v>
                </c:pt>
                <c:pt idx="10">
                  <c:v>Activia Natural 0% 8x120g</c:v>
                </c:pt>
                <c:pt idx="11">
                  <c:v>Actimel Fresa 6x100g</c:v>
                </c:pt>
                <c:pt idx="12">
                  <c:v>Carrefour Kefir 500g</c:v>
                </c:pt>
                <c:pt idx="13">
                  <c:v>Carrefour Fresa &amp; Plátano 8x125g</c:v>
                </c:pt>
                <c:pt idx="14">
                  <c:v>Carrefour Bifidus Fresa 0% 4x125g</c:v>
                </c:pt>
                <c:pt idx="15">
                  <c:v>Danone Mix Coco/Fresa/Frutos del Bosque/Macedoine 8x120g</c:v>
                </c:pt>
                <c:pt idx="16">
                  <c:v>Activia Natural 0% 16x120g</c:v>
                </c:pt>
                <c:pt idx="17">
                  <c:v>Activia Melocotón 0% 4x120g</c:v>
                </c:pt>
                <c:pt idx="18">
                  <c:v>Activia Natural 8x120g</c:v>
                </c:pt>
                <c:pt idx="19">
                  <c:v>Oikos Griego Natural 4x110g</c:v>
                </c:pt>
                <c:pt idx="20">
                  <c:v>Carrefour Natural 0% 6x125g</c:v>
                </c:pt>
                <c:pt idx="21">
                  <c:v>Vitalinea Fresa 0% 4x120g</c:v>
                </c:pt>
                <c:pt idx="22">
                  <c:v>Danone Griego Stracciatella 4x110g</c:v>
                </c:pt>
                <c:pt idx="23">
                  <c:v>Activia Cremoso Fresa 4x115g</c:v>
                </c:pt>
                <c:pt idx="24">
                  <c:v>Danone Proteína Stracciatella 4x105g</c:v>
                </c:pt>
                <c:pt idx="25">
                  <c:v>Danacol Limón 6x100g</c:v>
                </c:pt>
                <c:pt idx="26">
                  <c:v>Oikos Griego Fresa 4x110g</c:v>
                </c:pt>
                <c:pt idx="27">
                  <c:v>Activia Avena Nueces 4x115g</c:v>
                </c:pt>
                <c:pt idx="28">
                  <c:v>Danone Griego Natural 4x110g</c:v>
                </c:pt>
                <c:pt idx="29">
                  <c:v>La Lechera Fresa 2x125g</c:v>
                </c:pt>
                <c:pt idx="30">
                  <c:v>Carrefour Fresa 0% 6x125g</c:v>
                </c:pt>
                <c:pt idx="31">
                  <c:v>Activia Natural 0% 4x120g</c:v>
                </c:pt>
                <c:pt idx="32">
                  <c:v>Carrefour Bifidus Natural 0% 6x125g</c:v>
                </c:pt>
                <c:pt idx="33">
                  <c:v>Danonino Fresa 4x100g</c:v>
                </c:pt>
                <c:pt idx="34">
                  <c:v>Carrefour Sabores Mix 12x125g</c:v>
                </c:pt>
                <c:pt idx="35">
                  <c:v>Carrefour Proteína Plátano 400g</c:v>
                </c:pt>
                <c:pt idx="36">
                  <c:v>Actimel Natural 0% 6x100g</c:v>
                </c:pt>
                <c:pt idx="37">
                  <c:v>Carrefour Bifidus Muesli 0% 4x125g</c:v>
                </c:pt>
                <c:pt idx="38">
                  <c:v>YoPro Fresa 300g</c:v>
                </c:pt>
                <c:pt idx="39">
                  <c:v>Carrefour Bifidus Frutos Rojos 4x125g</c:v>
                </c:pt>
                <c:pt idx="40">
                  <c:v>Danonino Fresa 6x50g</c:v>
                </c:pt>
                <c:pt idx="41">
                  <c:v>Danacol Natural 6x100g</c:v>
                </c:pt>
                <c:pt idx="42">
                  <c:v>Carrefour Kefir Mango Líquido 500g</c:v>
                </c:pt>
                <c:pt idx="43">
                  <c:v>Activia Cremoso Lima/Limón 4x115g</c:v>
                </c:pt>
                <c:pt idx="44">
                  <c:v>Carrefour Natural Líquido 500g</c:v>
                </c:pt>
                <c:pt idx="45">
                  <c:v>Carrefour Petit Fresa y Plátano 12x60g</c:v>
                </c:pt>
                <c:pt idx="46">
                  <c:v>El Pastoret Melocotón y Maracuyá 500g</c:v>
                </c:pt>
                <c:pt idx="47">
                  <c:v>Carrefour Actuàlcol Tropical 8x100g</c:v>
                </c:pt>
                <c:pt idx="48">
                  <c:v>Carrefour L-Casei Fresa 0% 6x100g</c:v>
                </c:pt>
                <c:pt idx="49">
                  <c:v>El Pastoret Kefir Natural 500g</c:v>
                </c:pt>
                <c:pt idx="50">
                  <c:v>Danone Proteína Fresa 0% 270g</c:v>
                </c:pt>
                <c:pt idx="51">
                  <c:v>Alpro Skyr Fresa 400g</c:v>
                </c:pt>
                <c:pt idx="52">
                  <c:v>Actimel Natural 12x100g</c:v>
                </c:pt>
                <c:pt idx="53">
                  <c:v>Nestlé Kefir Natural 6x100g</c:v>
                </c:pt>
                <c:pt idx="54">
                  <c:v>Danonino Fresa 4x70g</c:v>
                </c:pt>
                <c:pt idx="55">
                  <c:v>Danone Proteína Chocolate 4x120g</c:v>
                </c:pt>
                <c:pt idx="56">
                  <c:v>Activia Muesli 0% 4x115g</c:v>
                </c:pt>
                <c:pt idx="57">
                  <c:v>Carrefour Kefir Natural 4x125g</c:v>
                </c:pt>
                <c:pt idx="58">
                  <c:v>Danacol Natural 12x100g</c:v>
                </c:pt>
                <c:pt idx="59">
                  <c:v>Carrefour Soja Natural 6x100g</c:v>
                </c:pt>
                <c:pt idx="60">
                  <c:v>YoPro Pudding Chocolate 180g</c:v>
                </c:pt>
                <c:pt idx="61">
                  <c:v>Oikos Griego Natural 900g</c:v>
                </c:pt>
                <c:pt idx="62">
                  <c:v>Danone Original Fresa 2x130g</c:v>
                </c:pt>
                <c:pt idx="63">
                  <c:v>Nestlé Nesquik 6x60g</c:v>
                </c:pt>
                <c:pt idx="64">
                  <c:v>Activia Piña 0% 4x120g</c:v>
                </c:pt>
                <c:pt idx="65">
                  <c:v>Danone Griego Manzana Canela 4x110g</c:v>
                </c:pt>
                <c:pt idx="66">
                  <c:v>Oikos Griego Caramelo 2x110g</c:v>
                </c:pt>
                <c:pt idx="67">
                  <c:v>Nestlé Kit Kat 2x115g</c:v>
                </c:pt>
                <c:pt idx="68">
                  <c:v>Carrefour Flan Huevo Proteico 2x160g</c:v>
                </c:pt>
                <c:pt idx="69">
                  <c:v>Alpro Arándanos/Fruitas Rojos 4x125g</c:v>
                </c:pt>
                <c:pt idx="70">
                  <c:v>La Fageda Natural 4x125g</c:v>
                </c:pt>
                <c:pt idx="71">
                  <c:v>Carrefour Pudding Chocolate 200g</c:v>
                </c:pt>
                <c:pt idx="72">
                  <c:v>Danone Original 2x130g</c:v>
                </c:pt>
                <c:pt idx="73">
                  <c:v>Activia Kefir Natural 345g</c:v>
                </c:pt>
                <c:pt idx="74">
                  <c:v>Activia Kefir Arándanos 320g</c:v>
                </c:pt>
                <c:pt idx="75">
                  <c:v>Nestlé Smarties 2x128g</c:v>
                </c:pt>
                <c:pt idx="76">
                  <c:v>Alpro Postre Chocolate Negro 4x125g</c:v>
                </c:pt>
                <c:pt idx="77">
                  <c:v>Carrefour Skyr Natural 150g</c:v>
                </c:pt>
                <c:pt idx="78">
                  <c:v>YoPro Natural 480g</c:v>
                </c:pt>
                <c:pt idx="79">
                  <c:v>YoPro Arándanos 4x120g</c:v>
                </c:pt>
                <c:pt idx="80">
                  <c:v>Carrefour Kefir Avena Nueces 4x125g</c:v>
                </c:pt>
                <c:pt idx="81">
                  <c:v>Danacol Nueces y Avena 0% 4x115g</c:v>
                </c:pt>
                <c:pt idx="82">
                  <c:v>Kaiku Natural Sin Lactose 4x125g</c:v>
                </c:pt>
                <c:pt idx="83">
                  <c:v>Reina Mousse Chocolate 2x100g</c:v>
                </c:pt>
                <c:pt idx="84">
                  <c:v>La Fageda Natural Azucarado 4x125g</c:v>
                </c:pt>
                <c:pt idx="85">
                  <c:v>Nestlé Kefir 150g</c:v>
                </c:pt>
                <c:pt idx="86">
                  <c:v>Danone Choco Flakes 102g</c:v>
                </c:pt>
                <c:pt idx="87">
                  <c:v>Valio Profeel Chocolate 180g</c:v>
                </c:pt>
              </c:strCache>
            </c:strRef>
          </c:cat>
          <c:val>
            <c:numRef>
              <c:f>Sheet1!$B$2:$B$89</c:f>
              <c:numCache>
                <c:formatCode>General</c:formatCode>
                <c:ptCount val="88"/>
                <c:pt idx="0">
                  <c:v>0.08950450905635221</c:v>
                </c:pt>
                <c:pt idx="1">
                  <c:v>0.07009726231004182</c:v>
                </c:pt>
                <c:pt idx="2">
                  <c:v>0.06082154033532026</c:v>
                </c:pt>
                <c:pt idx="3">
                  <c:v>0.05749602560214386</c:v>
                </c:pt>
                <c:pt idx="4">
                  <c:v>0.04581381881093446</c:v>
                </c:pt>
                <c:pt idx="5">
                  <c:v>0.03670374257823303</c:v>
                </c:pt>
                <c:pt idx="6">
                  <c:v>0.032464458268960696</c:v>
                </c:pt>
                <c:pt idx="7">
                  <c:v>0.0324001591989519</c:v>
                </c:pt>
                <c:pt idx="8">
                  <c:v>0.030965898911265263</c:v>
                </c:pt>
                <c:pt idx="9">
                  <c:v>0.030050078974207774</c:v>
                </c:pt>
                <c:pt idx="10">
                  <c:v>0.02363745107618863</c:v>
                </c:pt>
                <c:pt idx="11">
                  <c:v>0.020863797496686615</c:v>
                </c:pt>
                <c:pt idx="12">
                  <c:v>0.018938676103995696</c:v>
                </c:pt>
                <c:pt idx="13">
                  <c:v>0.016910820130199195</c:v>
                </c:pt>
                <c:pt idx="14">
                  <c:v>0.01598021213606754</c:v>
                </c:pt>
                <c:pt idx="15">
                  <c:v>0.015362305716404984</c:v>
                </c:pt>
                <c:pt idx="16">
                  <c:v>0.015122172817227499</c:v>
                </c:pt>
                <c:pt idx="17">
                  <c:v>0.014761710465183682</c:v>
                </c:pt>
                <c:pt idx="18">
                  <c:v>0.013831075515708386</c:v>
                </c:pt>
                <c:pt idx="19">
                  <c:v>0.013045336368849837</c:v>
                </c:pt>
                <c:pt idx="20">
                  <c:v>0.012781397306099802</c:v>
                </c:pt>
                <c:pt idx="21">
                  <c:v>0.011396613003681961</c:v>
                </c:pt>
                <c:pt idx="22">
                  <c:v>0.01139436197202439</c:v>
                </c:pt>
                <c:pt idx="23">
                  <c:v>0.011287703112293001</c:v>
                </c:pt>
                <c:pt idx="24">
                  <c:v>0.010060934167843148</c:v>
                </c:pt>
                <c:pt idx="25">
                  <c:v>0.009857304870367692</c:v>
                </c:pt>
                <c:pt idx="26">
                  <c:v>0.009735107039059025</c:v>
                </c:pt>
                <c:pt idx="27">
                  <c:v>0.00961473745664526</c:v>
                </c:pt>
                <c:pt idx="28">
                  <c:v>0.009484757682890189</c:v>
                </c:pt>
                <c:pt idx="29">
                  <c:v>0.008465727023709891</c:v>
                </c:pt>
                <c:pt idx="30">
                  <c:v>0.00829663682366437</c:v>
                </c:pt>
                <c:pt idx="31">
                  <c:v>0.007755368370578327</c:v>
                </c:pt>
                <c:pt idx="32">
                  <c:v>0.007327147674393785</c:v>
                </c:pt>
                <c:pt idx="33">
                  <c:v>0.007287403252951684</c:v>
                </c:pt>
                <c:pt idx="34">
                  <c:v>0.007266670382917588</c:v>
                </c:pt>
                <c:pt idx="35">
                  <c:v>0.007234996705557227</c:v>
                </c:pt>
                <c:pt idx="36">
                  <c:v>0.007160660395750842</c:v>
                </c:pt>
                <c:pt idx="37">
                  <c:v>0.0071028838124686505</c:v>
                </c:pt>
                <c:pt idx="38">
                  <c:v>0.006964092453426641</c:v>
                </c:pt>
                <c:pt idx="39">
                  <c:v>0.006902751983683219</c:v>
                </c:pt>
                <c:pt idx="40">
                  <c:v>0.006843642100624052</c:v>
                </c:pt>
                <c:pt idx="41">
                  <c:v>0.006535894742449007</c:v>
                </c:pt>
                <c:pt idx="42">
                  <c:v>0.006305804486383331</c:v>
                </c:pt>
                <c:pt idx="43">
                  <c:v>0.0062009363122750285</c:v>
                </c:pt>
                <c:pt idx="44">
                  <c:v>0.006019181721662219</c:v>
                </c:pt>
                <c:pt idx="45">
                  <c:v>0.005990168134318954</c:v>
                </c:pt>
                <c:pt idx="46">
                  <c:v>0.0057441382338177995</c:v>
                </c:pt>
                <c:pt idx="47">
                  <c:v>0.005710906589860821</c:v>
                </c:pt>
                <c:pt idx="48">
                  <c:v>0.005599694884123428</c:v>
                </c:pt>
                <c:pt idx="49">
                  <c:v>0.0052932401528502345</c:v>
                </c:pt>
                <c:pt idx="50">
                  <c:v>0.005043966171276262</c:v>
                </c:pt>
                <c:pt idx="51">
                  <c:v>0.0047240768513444895</c:v>
                </c:pt>
                <c:pt idx="52">
                  <c:v>0.004652865452954513</c:v>
                </c:pt>
                <c:pt idx="53">
                  <c:v>0.004557813428088467</c:v>
                </c:pt>
                <c:pt idx="54">
                  <c:v>0.004554757713435092</c:v>
                </c:pt>
                <c:pt idx="55">
                  <c:v>0.004372843129164516</c:v>
                </c:pt>
                <c:pt idx="56">
                  <c:v>0.004267571236914709</c:v>
                </c:pt>
                <c:pt idx="57">
                  <c:v>0.004164267821563082</c:v>
                </c:pt>
                <c:pt idx="58">
                  <c:v>0.004034365436587432</c:v>
                </c:pt>
                <c:pt idx="59">
                  <c:v>0.0037992395601566626</c:v>
                </c:pt>
                <c:pt idx="60">
                  <c:v>0.003734883048553762</c:v>
                </c:pt>
                <c:pt idx="61">
                  <c:v>0.00370394045325688</c:v>
                </c:pt>
                <c:pt idx="62">
                  <c:v>0.003472492524777171</c:v>
                </c:pt>
                <c:pt idx="63">
                  <c:v>0.0033089986613247155</c:v>
                </c:pt>
                <c:pt idx="64">
                  <c:v>0.00329152325203428</c:v>
                </c:pt>
                <c:pt idx="65">
                  <c:v>0.003279389915082294</c:v>
                </c:pt>
                <c:pt idx="66">
                  <c:v>0.0030703997837267525</c:v>
                </c:pt>
                <c:pt idx="67">
                  <c:v>0.0030266199978087136</c:v>
                </c:pt>
                <c:pt idx="68">
                  <c:v>0.0029872448859348494</c:v>
                </c:pt>
                <c:pt idx="69">
                  <c:v>0.0029634182157532297</c:v>
                </c:pt>
                <c:pt idx="70">
                  <c:v>0.0027022328650192426</c:v>
                </c:pt>
                <c:pt idx="71">
                  <c:v>0.00265801073721483</c:v>
                </c:pt>
                <c:pt idx="72">
                  <c:v>0.002432977163004037</c:v>
                </c:pt>
                <c:pt idx="73">
                  <c:v>0.002364487990711591</c:v>
                </c:pt>
                <c:pt idx="74">
                  <c:v>0.0020799046903836205</c:v>
                </c:pt>
                <c:pt idx="75">
                  <c:v>0.0020567161807887747</c:v>
                </c:pt>
                <c:pt idx="76">
                  <c:v>0.0018318301965754892</c:v>
                </c:pt>
                <c:pt idx="77">
                  <c:v>0.0018083614110534381</c:v>
                </c:pt>
                <c:pt idx="78">
                  <c:v>0.0017917122614510821</c:v>
                </c:pt>
                <c:pt idx="79">
                  <c:v>0.0015827927323570185</c:v>
                </c:pt>
                <c:pt idx="80">
                  <c:v>0.0014423846903573966</c:v>
                </c:pt>
                <c:pt idx="81">
                  <c:v>0.0014035595447777756</c:v>
                </c:pt>
                <c:pt idx="82">
                  <c:v>0.001324596325138688</c:v>
                </c:pt>
                <c:pt idx="83">
                  <c:v>0.001291144149129058</c:v>
                </c:pt>
                <c:pt idx="84">
                  <c:v>0.001066464611962004</c:v>
                </c:pt>
                <c:pt idx="85">
                  <c:v>0.0009624972115094467</c:v>
                </c:pt>
                <c:pt idx="86">
                  <c:v>0.0009113713930982514</c:v>
                </c:pt>
                <c:pt idx="87">
                  <c:v>0.0008863635844356061</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Danone Griego 90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C00000"/>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r>
                      <a:rPr sz="500">
                        <a:solidFill>
                          <a:srgbClr val="C00000"/>
                        </a:solidFill>
                      </a:rPr>
                      <a:t>Danone Griego 90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9</c:f>
              <c:strCache>
                <c:ptCount val="88"/>
                <c:pt idx="0">
                  <c:v>Carrefour Natural 8x125g</c:v>
                </c:pt>
                <c:pt idx="1">
                  <c:v>Danone Fresa 4x120g</c:v>
                </c:pt>
                <c:pt idx="2">
                  <c:v>Carrefour Griego Natural 6x125g</c:v>
                </c:pt>
                <c:pt idx="3">
                  <c:v>Carrefour Sabores Mix 16x125g</c:v>
                </c:pt>
                <c:pt idx="4">
                  <c:v>Carrefour Griego Natural 1000g</c:v>
                </c:pt>
                <c:pt idx="5">
                  <c:v>Danone Natural 8x120g</c:v>
                </c:pt>
                <c:pt idx="6">
                  <c:v>Carrefour Griego Stracciatella 6x125g</c:v>
                </c:pt>
                <c:pt idx="7">
                  <c:v>Carrefour Griego Fresa 6x125g</c:v>
                </c:pt>
                <c:pt idx="8">
                  <c:v>Alpro Coco 400g</c:v>
                </c:pt>
                <c:pt idx="9">
                  <c:v>Carrefour L-Casei Fresa/Plátano y Piña/Coco 12x100g</c:v>
                </c:pt>
                <c:pt idx="10">
                  <c:v>Activia Natural 0% 8x120g</c:v>
                </c:pt>
                <c:pt idx="11">
                  <c:v>Actimel Fresa 6x100g</c:v>
                </c:pt>
                <c:pt idx="12">
                  <c:v>Carrefour Kefir 500g</c:v>
                </c:pt>
                <c:pt idx="13">
                  <c:v>Carrefour Fresa &amp; Plátano 8x125g</c:v>
                </c:pt>
                <c:pt idx="14">
                  <c:v>Carrefour Bifidus Fresa 0% 4x125g</c:v>
                </c:pt>
                <c:pt idx="15">
                  <c:v>Danone Mix Coco/Fresa/Frutos del Bosque/Macedoine 8x120g</c:v>
                </c:pt>
                <c:pt idx="16">
                  <c:v>Activia Natural 0% 16x120g</c:v>
                </c:pt>
                <c:pt idx="17">
                  <c:v>Activia Melocotón 0% 4x120g</c:v>
                </c:pt>
                <c:pt idx="18">
                  <c:v>Activia Natural 8x120g</c:v>
                </c:pt>
                <c:pt idx="19">
                  <c:v>Oikos Griego Natural 4x110g</c:v>
                </c:pt>
                <c:pt idx="20">
                  <c:v>Carrefour Natural 0% 6x125g</c:v>
                </c:pt>
                <c:pt idx="21">
                  <c:v>Vitalinea Fresa 0% 4x120g</c:v>
                </c:pt>
                <c:pt idx="22">
                  <c:v>Danone Griego Stracciatella 4x110g</c:v>
                </c:pt>
                <c:pt idx="23">
                  <c:v>Activia Cremoso Fresa 4x115g</c:v>
                </c:pt>
                <c:pt idx="24">
                  <c:v>Danone Proteína Stracciatella 4x105g</c:v>
                </c:pt>
                <c:pt idx="25">
                  <c:v>Danacol Limón 6x100g</c:v>
                </c:pt>
                <c:pt idx="26">
                  <c:v>Oikos Griego Fresa 4x110g</c:v>
                </c:pt>
                <c:pt idx="27">
                  <c:v>Activia Avena Nueces 4x115g</c:v>
                </c:pt>
                <c:pt idx="28">
                  <c:v>Danone Griego Natural 4x110g</c:v>
                </c:pt>
                <c:pt idx="29">
                  <c:v>La Lechera Fresa 2x125g</c:v>
                </c:pt>
                <c:pt idx="30">
                  <c:v>Carrefour Fresa 0% 6x125g</c:v>
                </c:pt>
                <c:pt idx="31">
                  <c:v>Activia Natural 0% 4x120g</c:v>
                </c:pt>
                <c:pt idx="32">
                  <c:v>Carrefour Bifidus Natural 0% 6x125g</c:v>
                </c:pt>
                <c:pt idx="33">
                  <c:v>Danonino Fresa 4x100g</c:v>
                </c:pt>
                <c:pt idx="34">
                  <c:v>Carrefour Sabores Mix 12x125g</c:v>
                </c:pt>
                <c:pt idx="35">
                  <c:v>Actimel Natural 0% 6x100g</c:v>
                </c:pt>
                <c:pt idx="36">
                  <c:v>Carrefour Proteína Plátano 400g</c:v>
                </c:pt>
                <c:pt idx="37">
                  <c:v>Carrefour Bifidus Muesli 0% 4x125g</c:v>
                </c:pt>
                <c:pt idx="38">
                  <c:v>YoPro Fresa 300g</c:v>
                </c:pt>
                <c:pt idx="39">
                  <c:v>Carrefour Bifidus Frutos Rojos 4x125g</c:v>
                </c:pt>
                <c:pt idx="40">
                  <c:v>Danonino Fresa 6x50g</c:v>
                </c:pt>
                <c:pt idx="41">
                  <c:v>Danacol Natural 6x100g</c:v>
                </c:pt>
                <c:pt idx="42">
                  <c:v>Carrefour Kefir Mango Líquido 500g</c:v>
                </c:pt>
                <c:pt idx="43">
                  <c:v>Activia Cremoso Lima/Limón 4x115g</c:v>
                </c:pt>
                <c:pt idx="44">
                  <c:v>Carrefour Natural Líquido 500g</c:v>
                </c:pt>
                <c:pt idx="45">
                  <c:v>Carrefour Petit Fresa y Plátano 12x60g</c:v>
                </c:pt>
                <c:pt idx="46">
                  <c:v>El Pastoret Melocotón y Maracuyá 500g</c:v>
                </c:pt>
                <c:pt idx="47">
                  <c:v>Carrefour Actuàlcol Tropical 8x100g</c:v>
                </c:pt>
                <c:pt idx="48">
                  <c:v>Carrefour L-Casei Fresa 0% 6x100g</c:v>
                </c:pt>
                <c:pt idx="49">
                  <c:v>El Pastoret Kefir Natural 500g</c:v>
                </c:pt>
                <c:pt idx="50">
                  <c:v>Danone Proteína Fresa 0% 270g</c:v>
                </c:pt>
                <c:pt idx="51">
                  <c:v>Alpro Skyr Fresa 400g</c:v>
                </c:pt>
                <c:pt idx="52">
                  <c:v>Actimel Natural 12x100g</c:v>
                </c:pt>
                <c:pt idx="53">
                  <c:v>Danonino Fresa 4x70g</c:v>
                </c:pt>
                <c:pt idx="54">
                  <c:v>Nestlé Kefir Natural 6x100g</c:v>
                </c:pt>
                <c:pt idx="55">
                  <c:v>Danone Proteína Chocolate 4x120g</c:v>
                </c:pt>
                <c:pt idx="56">
                  <c:v>Activia Muesli 0% 4x115g</c:v>
                </c:pt>
                <c:pt idx="57">
                  <c:v>Carrefour Kefir Natural 4x125g</c:v>
                </c:pt>
                <c:pt idx="58">
                  <c:v>Danacol Natural 12x100g</c:v>
                </c:pt>
                <c:pt idx="59">
                  <c:v>Carrefour Soja Natural 6x100g</c:v>
                </c:pt>
                <c:pt idx="60">
                  <c:v>YoPro Pudding Chocolate 180g</c:v>
                </c:pt>
                <c:pt idx="61">
                  <c:v>Oikos Griego Natural 900g</c:v>
                </c:pt>
                <c:pt idx="62">
                  <c:v>Danone Original Fresa 2x130g</c:v>
                </c:pt>
                <c:pt idx="63">
                  <c:v>Nestlé Nesquik 6x60g</c:v>
                </c:pt>
                <c:pt idx="64">
                  <c:v>Activia Piña 0% 4x120g</c:v>
                </c:pt>
                <c:pt idx="65">
                  <c:v>Danone Griego Manzana Canela 4x110g</c:v>
                </c:pt>
                <c:pt idx="66">
                  <c:v>Oikos Griego Caramelo 2x110g</c:v>
                </c:pt>
                <c:pt idx="67">
                  <c:v>Nestlé Kit Kat 2x115g</c:v>
                </c:pt>
                <c:pt idx="68">
                  <c:v>Carrefour Flan Huevo Proteico 2x160g</c:v>
                </c:pt>
                <c:pt idx="69">
                  <c:v>Alpro Arándanos/Fruitas Rojos 4x125g</c:v>
                </c:pt>
                <c:pt idx="70">
                  <c:v>La Fageda Natural 4x125g</c:v>
                </c:pt>
                <c:pt idx="71">
                  <c:v>Carrefour Pudding Chocolate 200g</c:v>
                </c:pt>
                <c:pt idx="72">
                  <c:v>Danone Griego 900g</c:v>
                </c:pt>
                <c:pt idx="73">
                  <c:v>Danone Original 2x130g</c:v>
                </c:pt>
                <c:pt idx="74">
                  <c:v>Activia Kefir Natural 345g</c:v>
                </c:pt>
                <c:pt idx="75">
                  <c:v>Activia Kefir Arándanos 320g</c:v>
                </c:pt>
                <c:pt idx="76">
                  <c:v>Nestlé Smarties 2x128g</c:v>
                </c:pt>
                <c:pt idx="77">
                  <c:v>Alpro Postre Chocolate Negro 4x125g</c:v>
                </c:pt>
                <c:pt idx="78">
                  <c:v>Carrefour Skyr Natural 150g</c:v>
                </c:pt>
                <c:pt idx="79">
                  <c:v>YoPro Natural 480g</c:v>
                </c:pt>
                <c:pt idx="80">
                  <c:v>YoPro Arándanos 4x120g</c:v>
                </c:pt>
                <c:pt idx="81">
                  <c:v>Carrefour Kefir Avena Nueces 4x125g</c:v>
                </c:pt>
                <c:pt idx="82">
                  <c:v>Kaiku Natural Sin Lactose 4x125g</c:v>
                </c:pt>
                <c:pt idx="83">
                  <c:v>Reina Mousse Chocolate 2x100g</c:v>
                </c:pt>
                <c:pt idx="84">
                  <c:v>La Fageda Natural Azucarado 4x125g</c:v>
                </c:pt>
                <c:pt idx="85">
                  <c:v>Nestlé Kefir 150g</c:v>
                </c:pt>
                <c:pt idx="86">
                  <c:v>Danone Choco Flakes 102g</c:v>
                </c:pt>
                <c:pt idx="87">
                  <c:v>Valio Profeel Chocolate 180g</c:v>
                </c:pt>
              </c:strCache>
            </c:strRef>
          </c:cat>
          <c:val>
            <c:numRef>
              <c:f>Sheet1!$B$2:$B$89</c:f>
              <c:numCache>
                <c:formatCode>General</c:formatCode>
                <c:ptCount val="88"/>
                <c:pt idx="0">
                  <c:v>0.08943276173486471</c:v>
                </c:pt>
                <c:pt idx="1">
                  <c:v>0.07009629314251728</c:v>
                </c:pt>
                <c:pt idx="2">
                  <c:v>0.060766445227619974</c:v>
                </c:pt>
                <c:pt idx="3">
                  <c:v>0.05747653709544339</c:v>
                </c:pt>
                <c:pt idx="4">
                  <c:v>0.045487038929009335</c:v>
                </c:pt>
                <c:pt idx="5">
                  <c:v>0.036675552457635936</c:v>
                </c:pt>
                <c:pt idx="6">
                  <c:v>0.03244333688634653</c:v>
                </c:pt>
                <c:pt idx="7">
                  <c:v>0.03239257942697556</c:v>
                </c:pt>
                <c:pt idx="8">
                  <c:v>0.030884345893323617</c:v>
                </c:pt>
                <c:pt idx="9">
                  <c:v>0.029997585336650184</c:v>
                </c:pt>
                <c:pt idx="10">
                  <c:v>0.023643608437515257</c:v>
                </c:pt>
                <c:pt idx="11">
                  <c:v>0.020883220355362338</c:v>
                </c:pt>
                <c:pt idx="12">
                  <c:v>0.01882678633916866</c:v>
                </c:pt>
                <c:pt idx="13">
                  <c:v>0.01690590942631556</c:v>
                </c:pt>
                <c:pt idx="14">
                  <c:v>0.015975483607986195</c:v>
                </c:pt>
                <c:pt idx="15">
                  <c:v>0.01536221358637812</c:v>
                </c:pt>
                <c:pt idx="16">
                  <c:v>0.01513035699339509</c:v>
                </c:pt>
                <c:pt idx="17">
                  <c:v>0.014792306978114187</c:v>
                </c:pt>
                <c:pt idx="18">
                  <c:v>0.013838799322041326</c:v>
                </c:pt>
                <c:pt idx="19">
                  <c:v>0.013024519851671076</c:v>
                </c:pt>
                <c:pt idx="20">
                  <c:v>0.012773838112128951</c:v>
                </c:pt>
                <c:pt idx="21">
                  <c:v>0.011410503145217545</c:v>
                </c:pt>
                <c:pt idx="22">
                  <c:v>0.011396733275699046</c:v>
                </c:pt>
                <c:pt idx="23">
                  <c:v>0.011297582775151646</c:v>
                </c:pt>
                <c:pt idx="24">
                  <c:v>0.010056691681821325</c:v>
                </c:pt>
                <c:pt idx="25">
                  <c:v>0.009885731710897185</c:v>
                </c:pt>
                <c:pt idx="26">
                  <c:v>0.009729677653633513</c:v>
                </c:pt>
                <c:pt idx="27">
                  <c:v>0.009636199660844239</c:v>
                </c:pt>
                <c:pt idx="28">
                  <c:v>0.009475163075508795</c:v>
                </c:pt>
                <c:pt idx="29">
                  <c:v>0.008467911554484583</c:v>
                </c:pt>
                <c:pt idx="30">
                  <c:v>0.00829744545659462</c:v>
                </c:pt>
                <c:pt idx="31">
                  <c:v>0.007769728201467456</c:v>
                </c:pt>
                <c:pt idx="32">
                  <c:v>0.007321370419632042</c:v>
                </c:pt>
                <c:pt idx="33">
                  <c:v>0.007290535248644501</c:v>
                </c:pt>
                <c:pt idx="34">
                  <c:v>0.007260331912350944</c:v>
                </c:pt>
                <c:pt idx="35">
                  <c:v>0.007164849022926393</c:v>
                </c:pt>
                <c:pt idx="36">
                  <c:v>0.007120634804910831</c:v>
                </c:pt>
                <c:pt idx="37">
                  <c:v>0.007095702086424894</c:v>
                </c:pt>
                <c:pt idx="38">
                  <c:v>0.00696175902604894</c:v>
                </c:pt>
                <c:pt idx="39">
                  <c:v>0.0068994011051525155</c:v>
                </c:pt>
                <c:pt idx="40">
                  <c:v>0.006845107808045788</c:v>
                </c:pt>
                <c:pt idx="41">
                  <c:v>0.006559376321054857</c:v>
                </c:pt>
                <c:pt idx="42">
                  <c:v>0.006276933199781136</c:v>
                </c:pt>
                <c:pt idx="43">
                  <c:v>0.006208531343357136</c:v>
                </c:pt>
                <c:pt idx="44">
                  <c:v>0.005989606840042763</c:v>
                </c:pt>
                <c:pt idx="45">
                  <c:v>0.005985878566085732</c:v>
                </c:pt>
                <c:pt idx="46">
                  <c:v>0.005736815530809325</c:v>
                </c:pt>
                <c:pt idx="47">
                  <c:v>0.00570566009002731</c:v>
                </c:pt>
                <c:pt idx="48">
                  <c:v>0.00559647550299028</c:v>
                </c:pt>
                <c:pt idx="49">
                  <c:v>0.005250490319293853</c:v>
                </c:pt>
                <c:pt idx="50">
                  <c:v>0.005039418735062984</c:v>
                </c:pt>
                <c:pt idx="51">
                  <c:v>0.004716721993786717</c:v>
                </c:pt>
                <c:pt idx="52">
                  <c:v>0.004661734214455447</c:v>
                </c:pt>
                <c:pt idx="53">
                  <c:v>0.004557457877534521</c:v>
                </c:pt>
                <c:pt idx="54">
                  <c:v>0.004499462660649918</c:v>
                </c:pt>
                <c:pt idx="55">
                  <c:v>0.004370547899946096</c:v>
                </c:pt>
                <c:pt idx="56">
                  <c:v>0.004280937880137118</c:v>
                </c:pt>
                <c:pt idx="57">
                  <c:v>0.004146915685844973</c:v>
                </c:pt>
                <c:pt idx="58">
                  <c:v>0.0040478962311508715</c:v>
                </c:pt>
                <c:pt idx="59">
                  <c:v>0.003798495833026932</c:v>
                </c:pt>
                <c:pt idx="60">
                  <c:v>0.0037287581846687013</c:v>
                </c:pt>
                <c:pt idx="61">
                  <c:v>0.0036742720833138017</c:v>
                </c:pt>
                <c:pt idx="62">
                  <c:v>0.003471931707935278</c:v>
                </c:pt>
                <c:pt idx="63">
                  <c:v>0.003309648661379419</c:v>
                </c:pt>
                <c:pt idx="64">
                  <c:v>0.0032979466818295246</c:v>
                </c:pt>
                <c:pt idx="65">
                  <c:v>0.0032782573457481134</c:v>
                </c:pt>
                <c:pt idx="66">
                  <c:v>0.003068623957427836</c:v>
                </c:pt>
                <c:pt idx="67">
                  <c:v>0.0030287108188417804</c:v>
                </c:pt>
                <c:pt idx="68">
                  <c:v>0.0029839518402443115</c:v>
                </c:pt>
                <c:pt idx="69">
                  <c:v>0.002961408707409224</c:v>
                </c:pt>
                <c:pt idx="70">
                  <c:v>0.0026986603170997495</c:v>
                </c:pt>
                <c:pt idx="71">
                  <c:v>0.0026509978363381415</c:v>
                </c:pt>
                <c:pt idx="72">
                  <c:v>0.0024359858054427835</c:v>
                </c:pt>
                <c:pt idx="73">
                  <c:v>0.0024326002160730484</c:v>
                </c:pt>
                <c:pt idx="74">
                  <c:v>0.002354781584325396</c:v>
                </c:pt>
                <c:pt idx="75">
                  <c:v>0.0020795109041030864</c:v>
                </c:pt>
                <c:pt idx="76">
                  <c:v>0.002054333938479632</c:v>
                </c:pt>
                <c:pt idx="77">
                  <c:v>0.0018313112298693833</c:v>
                </c:pt>
                <c:pt idx="78">
                  <c:v>0.001798626832061303</c:v>
                </c:pt>
                <c:pt idx="79">
                  <c:v>0.0017862374491461662</c:v>
                </c:pt>
                <c:pt idx="80">
                  <c:v>0.001577888688808073</c:v>
                </c:pt>
                <c:pt idx="81">
                  <c:v>0.0014363636751738263</c:v>
                </c:pt>
                <c:pt idx="82">
                  <c:v>0.00132452454555238</c:v>
                </c:pt>
                <c:pt idx="83">
                  <c:v>0.0012893895181201901</c:v>
                </c:pt>
                <c:pt idx="84">
                  <c:v>0.0010655015418328658</c:v>
                </c:pt>
                <c:pt idx="85">
                  <c:v>0.0009609164792633106</c:v>
                </c:pt>
                <c:pt idx="86">
                  <c:v>0.0009106655533236103</c:v>
                </c:pt>
                <c:pt idx="87">
                  <c:v>0.0008862584052307269</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Danone Skyr Natural 4x100g</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C00000"/>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r>
                      <a:rPr sz="500">
                        <a:solidFill>
                          <a:srgbClr val="C00000"/>
                        </a:solidFill>
                      </a:rPr>
                      <a:t>Danone Skyr Natural 4x10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9</c:f>
              <c:strCache>
                <c:ptCount val="88"/>
                <c:pt idx="0">
                  <c:v>Carrefour Natural 8x125g</c:v>
                </c:pt>
                <c:pt idx="1">
                  <c:v>Danone Fresa 4x120g</c:v>
                </c:pt>
                <c:pt idx="2">
                  <c:v>Carrefour Griego Natural 6x125g</c:v>
                </c:pt>
                <c:pt idx="3">
                  <c:v>Carrefour Sabores Mix 16x125g</c:v>
                </c:pt>
                <c:pt idx="4">
                  <c:v>Carrefour Griego Natural 1000g</c:v>
                </c:pt>
                <c:pt idx="5">
                  <c:v>Danone Natural 8x120g</c:v>
                </c:pt>
                <c:pt idx="6">
                  <c:v>Carrefour Griego Stracciatella 6x125g</c:v>
                </c:pt>
                <c:pt idx="7">
                  <c:v>Carrefour Griego Fresa 6x125g</c:v>
                </c:pt>
                <c:pt idx="8">
                  <c:v>Alpro Coco 400g</c:v>
                </c:pt>
                <c:pt idx="9">
                  <c:v>Carrefour L-Casei Fresa/Plátano y Piña/Coco 12x100g</c:v>
                </c:pt>
                <c:pt idx="10">
                  <c:v>Activia Natural 0% 8x120g</c:v>
                </c:pt>
                <c:pt idx="11">
                  <c:v>Actimel Fresa 6x100g</c:v>
                </c:pt>
                <c:pt idx="12">
                  <c:v>Carrefour Kefir 500g</c:v>
                </c:pt>
                <c:pt idx="13">
                  <c:v>Carrefour Fresa &amp; Plátano 8x125g</c:v>
                </c:pt>
                <c:pt idx="14">
                  <c:v>Carrefour Bifidus Fresa 0% 4x125g</c:v>
                </c:pt>
                <c:pt idx="15">
                  <c:v>Danone Mix Coco/Fresa/Frutos del Bosque/Macedoine 8x120g</c:v>
                </c:pt>
                <c:pt idx="16">
                  <c:v>Activia Natural 0% 16x120g</c:v>
                </c:pt>
                <c:pt idx="17">
                  <c:v>Activia Melocotón 0% 4x120g</c:v>
                </c:pt>
                <c:pt idx="18">
                  <c:v>Activia Natural 8x120g</c:v>
                </c:pt>
                <c:pt idx="19">
                  <c:v>Oikos Griego Natural 4x110g</c:v>
                </c:pt>
                <c:pt idx="20">
                  <c:v>Carrefour Natural 0% 6x125g</c:v>
                </c:pt>
                <c:pt idx="21">
                  <c:v>Vitalinea Fresa 0% 4x120g</c:v>
                </c:pt>
                <c:pt idx="22">
                  <c:v>Danone Griego Stracciatella 4x110g</c:v>
                </c:pt>
                <c:pt idx="23">
                  <c:v>Activia Cremoso Fresa 4x115g</c:v>
                </c:pt>
                <c:pt idx="24">
                  <c:v>Danone Proteína Stracciatella 4x105g</c:v>
                </c:pt>
                <c:pt idx="25">
                  <c:v>Danacol Limón 6x100g</c:v>
                </c:pt>
                <c:pt idx="26">
                  <c:v>Oikos Griego Fresa 4x110g</c:v>
                </c:pt>
                <c:pt idx="27">
                  <c:v>Activia Avena Nueces 4x115g</c:v>
                </c:pt>
                <c:pt idx="28">
                  <c:v>Danone Griego Natural 4x110g</c:v>
                </c:pt>
                <c:pt idx="29">
                  <c:v>La Lechera Fresa 2x125g</c:v>
                </c:pt>
                <c:pt idx="30">
                  <c:v>Carrefour Fresa 0% 6x125g</c:v>
                </c:pt>
                <c:pt idx="31">
                  <c:v>Activia Natural 0% 4x120g</c:v>
                </c:pt>
                <c:pt idx="32">
                  <c:v>Carrefour Bifidus Natural 0% 6x125g</c:v>
                </c:pt>
                <c:pt idx="33">
                  <c:v>Danonino Fresa 4x100g</c:v>
                </c:pt>
                <c:pt idx="34">
                  <c:v>Carrefour Sabores Mix 12x125g</c:v>
                </c:pt>
                <c:pt idx="35">
                  <c:v>Carrefour Proteína Plátano 400g</c:v>
                </c:pt>
                <c:pt idx="36">
                  <c:v>Actimel Natural 0% 6x100g</c:v>
                </c:pt>
                <c:pt idx="37">
                  <c:v>Carrefour Bifidus Muesli 0% 4x125g</c:v>
                </c:pt>
                <c:pt idx="38">
                  <c:v>YoPro Fresa 300g</c:v>
                </c:pt>
                <c:pt idx="39">
                  <c:v>Carrefour Bifidus Frutos Rojos 4x125g</c:v>
                </c:pt>
                <c:pt idx="40">
                  <c:v>Danonino Fresa 6x50g</c:v>
                </c:pt>
                <c:pt idx="41">
                  <c:v>Danacol Natural 6x100g</c:v>
                </c:pt>
                <c:pt idx="42">
                  <c:v>Carrefour Kefir Mango Líquido 500g</c:v>
                </c:pt>
                <c:pt idx="43">
                  <c:v>Activia Cremoso Lima/Limón 4x115g</c:v>
                </c:pt>
                <c:pt idx="44">
                  <c:v>Carrefour Natural Líquido 500g</c:v>
                </c:pt>
                <c:pt idx="45">
                  <c:v>Carrefour Petit Fresa y Plátano 12x60g</c:v>
                </c:pt>
                <c:pt idx="46">
                  <c:v>El Pastoret Melocotón y Maracuyá 500g</c:v>
                </c:pt>
                <c:pt idx="47">
                  <c:v>Carrefour Actuàlcol Tropical 8x100g</c:v>
                </c:pt>
                <c:pt idx="48">
                  <c:v>Carrefour L-Casei Fresa 0% 6x100g</c:v>
                </c:pt>
                <c:pt idx="49">
                  <c:v>El Pastoret Kefir Natural 500g</c:v>
                </c:pt>
                <c:pt idx="50">
                  <c:v>Danone Proteína Fresa 0% 270g</c:v>
                </c:pt>
                <c:pt idx="51">
                  <c:v>Alpro Skyr Fresa 400g</c:v>
                </c:pt>
                <c:pt idx="52">
                  <c:v>Actimel Natural 12x100g</c:v>
                </c:pt>
                <c:pt idx="53">
                  <c:v>Danonino Fresa 4x70g</c:v>
                </c:pt>
                <c:pt idx="54">
                  <c:v>Nestlé Kefir Natural 6x100g</c:v>
                </c:pt>
                <c:pt idx="55">
                  <c:v>Danone Proteína Chocolate 4x120g</c:v>
                </c:pt>
                <c:pt idx="56">
                  <c:v>Activia Muesli 0% 4x115g</c:v>
                </c:pt>
                <c:pt idx="57">
                  <c:v>Carrefour Kefir Natural 4x125g</c:v>
                </c:pt>
                <c:pt idx="58">
                  <c:v>Danacol Natural 12x100g</c:v>
                </c:pt>
                <c:pt idx="59">
                  <c:v>Carrefour Soja Natural 6x100g</c:v>
                </c:pt>
                <c:pt idx="60">
                  <c:v>YoPro Pudding Chocolate 180g</c:v>
                </c:pt>
                <c:pt idx="61">
                  <c:v>Oikos Griego Natural 900g</c:v>
                </c:pt>
                <c:pt idx="62">
                  <c:v>Danone Original Fresa 2x130g</c:v>
                </c:pt>
                <c:pt idx="63">
                  <c:v>Nestlé Nesquik 6x60g</c:v>
                </c:pt>
                <c:pt idx="64">
                  <c:v>Activia Piña 0% 4x120g</c:v>
                </c:pt>
                <c:pt idx="65">
                  <c:v>Danone Griego Manzana Canela 4x110g</c:v>
                </c:pt>
                <c:pt idx="66">
                  <c:v>Oikos Griego Caramelo 2x110g</c:v>
                </c:pt>
                <c:pt idx="67">
                  <c:v>Nestlé Kit Kat 2x115g</c:v>
                </c:pt>
                <c:pt idx="68">
                  <c:v>Carrefour Flan Huevo Proteico 2x160g</c:v>
                </c:pt>
                <c:pt idx="69">
                  <c:v>Alpro Arándanos/Fruitas Rojos 4x125g</c:v>
                </c:pt>
                <c:pt idx="70">
                  <c:v>La Fageda Natural 4x125g</c:v>
                </c:pt>
                <c:pt idx="71">
                  <c:v>Carrefour Pudding Chocolate 200g</c:v>
                </c:pt>
                <c:pt idx="72">
                  <c:v>Danone Original 2x130g</c:v>
                </c:pt>
                <c:pt idx="73">
                  <c:v>Activia Kefir Natural 345g</c:v>
                </c:pt>
                <c:pt idx="74">
                  <c:v>Activia Kefir Arándanos 320g</c:v>
                </c:pt>
                <c:pt idx="75">
                  <c:v>Nestlé Smarties 2x128g</c:v>
                </c:pt>
                <c:pt idx="76">
                  <c:v>Alpro Postre Chocolate Negro 4x125g</c:v>
                </c:pt>
                <c:pt idx="77">
                  <c:v>Carrefour Skyr Natural 150g</c:v>
                </c:pt>
                <c:pt idx="78">
                  <c:v>YoPro Natural 480g</c:v>
                </c:pt>
                <c:pt idx="79">
                  <c:v>YoPro Arándanos 4x120g</c:v>
                </c:pt>
                <c:pt idx="80">
                  <c:v>Carrefour Kefir Avena Nueces 4x125g</c:v>
                </c:pt>
                <c:pt idx="81">
                  <c:v>Danone Skyr Natural 4x100g</c:v>
                </c:pt>
                <c:pt idx="82">
                  <c:v>Kaiku Natural Sin Lactose 4x125g</c:v>
                </c:pt>
                <c:pt idx="83">
                  <c:v>Reina Mousse Chocolate 2x100g</c:v>
                </c:pt>
                <c:pt idx="84">
                  <c:v>La Fageda Natural Azucarado 4x125g</c:v>
                </c:pt>
                <c:pt idx="85">
                  <c:v>Nestlé Kefir 150g</c:v>
                </c:pt>
                <c:pt idx="86">
                  <c:v>Danone Choco Flakes 102g</c:v>
                </c:pt>
                <c:pt idx="87">
                  <c:v>Valio Profeel Chocolate 180g</c:v>
                </c:pt>
              </c:strCache>
            </c:strRef>
          </c:cat>
          <c:val>
            <c:numRef>
              <c:f>Sheet1!$B$2:$B$89</c:f>
              <c:numCache>
                <c:formatCode>General</c:formatCode>
                <c:ptCount val="88"/>
                <c:pt idx="0">
                  <c:v>0.08945660688207396</c:v>
                </c:pt>
                <c:pt idx="1">
                  <c:v>0.07010405448545115</c:v>
                </c:pt>
                <c:pt idx="2">
                  <c:v>0.06070397472955077</c:v>
                </c:pt>
                <c:pt idx="3">
                  <c:v>0.057513367294676376</c:v>
                </c:pt>
                <c:pt idx="4">
                  <c:v>0.04575690868443844</c:v>
                </c:pt>
                <c:pt idx="5">
                  <c:v>0.03667004472007622</c:v>
                </c:pt>
                <c:pt idx="6">
                  <c:v>0.03243665961640245</c:v>
                </c:pt>
                <c:pt idx="7">
                  <c:v>0.03238651044097531</c:v>
                </c:pt>
                <c:pt idx="8">
                  <c:v>0.030993277115265498</c:v>
                </c:pt>
                <c:pt idx="9">
                  <c:v>0.03005492907488333</c:v>
                </c:pt>
                <c:pt idx="10">
                  <c:v>0.023661763222176228</c:v>
                </c:pt>
                <c:pt idx="11">
                  <c:v>0.020881846912205508</c:v>
                </c:pt>
                <c:pt idx="12">
                  <c:v>0.018932954949559943</c:v>
                </c:pt>
                <c:pt idx="13">
                  <c:v>0.016913971612974577</c:v>
                </c:pt>
                <c:pt idx="14">
                  <c:v>0.015982655937496648</c:v>
                </c:pt>
                <c:pt idx="15">
                  <c:v>0.01536622289773055</c:v>
                </c:pt>
                <c:pt idx="16">
                  <c:v>0.015137801203620028</c:v>
                </c:pt>
                <c:pt idx="17">
                  <c:v>0.014786312266361509</c:v>
                </c:pt>
                <c:pt idx="18">
                  <c:v>0.013852340022015104</c:v>
                </c:pt>
                <c:pt idx="19">
                  <c:v>0.013016507112664897</c:v>
                </c:pt>
                <c:pt idx="20">
                  <c:v>0.012771623066567128</c:v>
                </c:pt>
                <c:pt idx="21">
                  <c:v>0.011402732971625643</c:v>
                </c:pt>
                <c:pt idx="22">
                  <c:v>0.011391030333231123</c:v>
                </c:pt>
                <c:pt idx="23">
                  <c:v>0.011294156101316396</c:v>
                </c:pt>
                <c:pt idx="24">
                  <c:v>0.010049889836834575</c:v>
                </c:pt>
                <c:pt idx="25">
                  <c:v>0.009903402323725092</c:v>
                </c:pt>
                <c:pt idx="26">
                  <c:v>0.009724897828624457</c:v>
                </c:pt>
                <c:pt idx="27">
                  <c:v>0.009642767260156814</c:v>
                </c:pt>
                <c:pt idx="28">
                  <c:v>0.009461469246180333</c:v>
                </c:pt>
                <c:pt idx="29">
                  <c:v>0.008465578001249875</c:v>
                </c:pt>
                <c:pt idx="30">
                  <c:v>0.00829640519099024</c:v>
                </c:pt>
                <c:pt idx="31">
                  <c:v>0.007767397469503212</c:v>
                </c:pt>
                <c:pt idx="32">
                  <c:v>0.007328833918936056</c:v>
                </c:pt>
                <c:pt idx="33">
                  <c:v>0.007292236567815965</c:v>
                </c:pt>
                <c:pt idx="34">
                  <c:v>0.007270864725136266</c:v>
                </c:pt>
                <c:pt idx="35">
                  <c:v>0.007247186659325272</c:v>
                </c:pt>
                <c:pt idx="36">
                  <c:v>0.007168032665570172</c:v>
                </c:pt>
                <c:pt idx="37">
                  <c:v>0.00710511168351089</c:v>
                </c:pt>
                <c:pt idx="38">
                  <c:v>0.006977442067136322</c:v>
                </c:pt>
                <c:pt idx="39">
                  <c:v>0.006904391840169614</c:v>
                </c:pt>
                <c:pt idx="40">
                  <c:v>0.006843100557015791</c:v>
                </c:pt>
                <c:pt idx="41">
                  <c:v>0.006571885210128758</c:v>
                </c:pt>
                <c:pt idx="42">
                  <c:v>0.006308354604131195</c:v>
                </c:pt>
                <c:pt idx="43">
                  <c:v>0.006208901457325599</c:v>
                </c:pt>
                <c:pt idx="44">
                  <c:v>0.006018819735295698</c:v>
                </c:pt>
                <c:pt idx="45">
                  <c:v>0.005989719220995303</c:v>
                </c:pt>
                <c:pt idx="46">
                  <c:v>0.005740646550709259</c:v>
                </c:pt>
                <c:pt idx="47">
                  <c:v>0.005717069199017727</c:v>
                </c:pt>
                <c:pt idx="48">
                  <c:v>0.00560167900842745</c:v>
                </c:pt>
                <c:pt idx="49">
                  <c:v>0.005290176427194713</c:v>
                </c:pt>
                <c:pt idx="50">
                  <c:v>0.005049470462183386</c:v>
                </c:pt>
                <c:pt idx="51">
                  <c:v>0.004730553312044089</c:v>
                </c:pt>
                <c:pt idx="52">
                  <c:v>0.004662731453052193</c:v>
                </c:pt>
                <c:pt idx="53">
                  <c:v>0.0045581199100624544</c:v>
                </c:pt>
                <c:pt idx="54">
                  <c:v>0.004553879289621907</c:v>
                </c:pt>
                <c:pt idx="55">
                  <c:v>0.00437221085889547</c:v>
                </c:pt>
                <c:pt idx="56">
                  <c:v>0.004285625525268598</c:v>
                </c:pt>
                <c:pt idx="57">
                  <c:v>0.004158671740984289</c:v>
                </c:pt>
                <c:pt idx="58">
                  <c:v>0.0040539071708137146</c:v>
                </c:pt>
                <c:pt idx="59">
                  <c:v>0.003801270367513517</c:v>
                </c:pt>
                <c:pt idx="60">
                  <c:v>0.0037347203720031665</c:v>
                </c:pt>
                <c:pt idx="61">
                  <c:v>0.003702746343934541</c:v>
                </c:pt>
                <c:pt idx="62">
                  <c:v>0.003467242557666473</c:v>
                </c:pt>
                <c:pt idx="63">
                  <c:v>0.003308263463152916</c:v>
                </c:pt>
                <c:pt idx="64">
                  <c:v>0.003298927360304919</c:v>
                </c:pt>
                <c:pt idx="65">
                  <c:v>0.0032786908032461813</c:v>
                </c:pt>
                <c:pt idx="66">
                  <c:v>0.0030696526898423655</c:v>
                </c:pt>
                <c:pt idx="67">
                  <c:v>0.0030284881573381696</c:v>
                </c:pt>
                <c:pt idx="68">
                  <c:v>0.002988067373225971</c:v>
                </c:pt>
                <c:pt idx="69">
                  <c:v>0.002962687882508638</c:v>
                </c:pt>
                <c:pt idx="70">
                  <c:v>0.0026991368210742286</c:v>
                </c:pt>
                <c:pt idx="71">
                  <c:v>0.0026583943882576367</c:v>
                </c:pt>
                <c:pt idx="72">
                  <c:v>0.0024297725174022415</c:v>
                </c:pt>
                <c:pt idx="73">
                  <c:v>0.002362983825764929</c:v>
                </c:pt>
                <c:pt idx="74">
                  <c:v>0.0020825973092461593</c:v>
                </c:pt>
                <c:pt idx="75">
                  <c:v>0.002056661173072115</c:v>
                </c:pt>
                <c:pt idx="76">
                  <c:v>0.0018340579747317513</c:v>
                </c:pt>
                <c:pt idx="77">
                  <c:v>0.0018085968454261334</c:v>
                </c:pt>
                <c:pt idx="78">
                  <c:v>0.0017950492521951404</c:v>
                </c:pt>
                <c:pt idx="79">
                  <c:v>0.0015839260321469455</c:v>
                </c:pt>
                <c:pt idx="80">
                  <c:v>0.0014417128133542342</c:v>
                </c:pt>
                <c:pt idx="81">
                  <c:v>0.0013767071143192208</c:v>
                </c:pt>
                <c:pt idx="82">
                  <c:v>0.0013206655086681644</c:v>
                </c:pt>
                <c:pt idx="83">
                  <c:v>0.0012924131259231684</c:v>
                </c:pt>
                <c:pt idx="84">
                  <c:v>0.0010654621434323219</c:v>
                </c:pt>
                <c:pt idx="85">
                  <c:v>0.0009617859039901229</c:v>
                </c:pt>
                <c:pt idx="86">
                  <c:v>0.0009115093749458844</c:v>
                </c:pt>
                <c:pt idx="87">
                  <c:v>0.000888129873941398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Danone Smartfood Vainilla 500ml</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02D-4251-AC41-C6D4CBCA5CD6}"/>
              </c:ext>
            </c:extLst>
          </c:dPt>
          <c:dPt>
            <c:idx val="1"/>
            <c:invertIfNegative val="1"/>
            <c:bubble3D val="0"/>
            <c:spPr>
              <a:solidFill>
                <a:srgbClr val="E6E5E5"/>
              </a:solidFill>
            </c:spPr>
            <c:extLst>
              <c:ext xmlns:c16="http://schemas.microsoft.com/office/drawing/2014/chart" uri="{C3380CC4-5D6E-409C-BE32-E72D297353CC}">
                <c16:uniqueId val="{00000003-902D-4251-AC41-C6D4CBCA5CD6}"/>
              </c:ext>
            </c:extLst>
          </c:dPt>
          <c:dPt>
            <c:idx val="2"/>
            <c:invertIfNegative val="1"/>
            <c:bubble3D val="0"/>
            <c:spPr>
              <a:solidFill>
                <a:srgbClr val="E6E5E5"/>
              </a:solidFill>
            </c:spPr>
            <c:extLst>
              <c:ext xmlns:c16="http://schemas.microsoft.com/office/drawing/2014/chart" uri="{C3380CC4-5D6E-409C-BE32-E72D297353CC}">
                <c16:uniqueId val="{00000005-902D-4251-AC41-C6D4CBCA5CD6}"/>
              </c:ext>
            </c:extLst>
          </c:dPt>
          <c:dPt>
            <c:idx val="3"/>
            <c:invertIfNegative val="0"/>
            <c:bubble3D val="0"/>
            <c:spPr>
              <a:solidFill>
                <a:srgbClr val="E6E5E5"/>
              </a:solidFill>
              <a:ln>
                <a:noFill/>
              </a:ln>
              <a:effectLst/>
            </c:spPr>
            <c:extLst>
              <c:ext xmlns:c16="http://schemas.microsoft.com/office/drawing/2014/chart" uri="{C3380CC4-5D6E-409C-BE32-E72D297353CC}">
                <c16:uniqueId val="{00000007-902D-4251-AC41-C6D4CBCA5CD6}"/>
              </c:ext>
            </c:extLst>
          </c:dPt>
          <c:dPt>
            <c:idx val="4"/>
            <c:invertIfNegative val="1"/>
            <c:bubble3D val="0"/>
            <c:spPr>
              <a:solidFill>
                <a:srgbClr val="E6E5E5"/>
              </a:solidFill>
            </c:spPr>
            <c:extLst>
              <c:ext xmlns:c16="http://schemas.microsoft.com/office/drawing/2014/chart" uri="{C3380CC4-5D6E-409C-BE32-E72D297353CC}">
                <c16:uniqueId val="{00000009-902D-4251-AC41-C6D4CBCA5CD6}"/>
              </c:ext>
            </c:extLst>
          </c:dPt>
          <c:dPt>
            <c:idx val="5"/>
            <c:invertIfNegative val="1"/>
            <c:bubble3D val="0"/>
            <c:spPr>
              <a:solidFill>
                <a:srgbClr val="E6E5E5"/>
              </a:solidFill>
            </c:spPr>
            <c:extLst>
              <c:ext xmlns:c16="http://schemas.microsoft.com/office/drawing/2014/chart" uri="{C3380CC4-5D6E-409C-BE32-E72D297353CC}">
                <c16:uniqueId val="{0000000B-902D-4251-AC41-C6D4CBCA5CD6}"/>
              </c:ext>
            </c:extLst>
          </c:dPt>
          <c:dPt>
            <c:idx val="6"/>
            <c:invertIfNegative val="1"/>
            <c:bubble3D val="0"/>
            <c:spPr>
              <a:solidFill>
                <a:srgbClr val="E6E5E5"/>
              </a:solidFill>
            </c:spPr>
            <c:extLst>
              <c:ext xmlns:c16="http://schemas.microsoft.com/office/drawing/2014/chart" uri="{C3380CC4-5D6E-409C-BE32-E72D297353CC}">
                <c16:uniqueId val="{0000000D-902D-4251-AC41-C6D4CBCA5CD6}"/>
              </c:ext>
            </c:extLst>
          </c:dPt>
          <c:dPt>
            <c:idx val="7"/>
            <c:invertIfNegative val="1"/>
            <c:bubble3D val="0"/>
            <c:spPr>
              <a:solidFill>
                <a:srgbClr val="E6E5E5"/>
              </a:solidFill>
            </c:spPr>
            <c:extLst>
              <c:ext xmlns:c16="http://schemas.microsoft.com/office/drawing/2014/chart" uri="{C3380CC4-5D6E-409C-BE32-E72D297353CC}">
                <c16:uniqueId val="{0000000F-902D-4251-AC41-C6D4CBCA5CD6}"/>
              </c:ext>
            </c:extLst>
          </c:dPt>
          <c:dPt>
            <c:idx val="8"/>
            <c:invertIfNegative val="1"/>
            <c:bubble3D val="0"/>
            <c:spPr>
              <a:solidFill>
                <a:srgbClr val="E6E5E5"/>
              </a:solidFill>
            </c:spPr>
            <c:extLst>
              <c:ext xmlns:c16="http://schemas.microsoft.com/office/drawing/2014/chart" uri="{C3380CC4-5D6E-409C-BE32-E72D297353CC}">
                <c16:uniqueId val="{00000011-902D-4251-AC41-C6D4CBCA5CD6}"/>
              </c:ext>
            </c:extLst>
          </c:dPt>
          <c:dPt>
            <c:idx val="9"/>
            <c:invertIfNegative val="1"/>
            <c:bubble3D val="0"/>
            <c:spPr>
              <a:solidFill>
                <a:srgbClr val="E6E5E5"/>
              </a:solidFill>
            </c:spPr>
            <c:extLst>
              <c:ext xmlns:c16="http://schemas.microsoft.com/office/drawing/2014/chart" uri="{C3380CC4-5D6E-409C-BE32-E72D297353CC}">
                <c16:uniqueId val="{00000013-902D-4251-AC41-C6D4CBCA5CD6}"/>
              </c:ext>
            </c:extLst>
          </c:dPt>
          <c:dPt>
            <c:idx val="10"/>
            <c:invertIfNegative val="1"/>
            <c:bubble3D val="0"/>
            <c:spPr>
              <a:solidFill>
                <a:srgbClr val="E6E5E5"/>
              </a:solidFill>
            </c:spPr>
            <c:extLst>
              <c:ext xmlns:c16="http://schemas.microsoft.com/office/drawing/2014/chart" uri="{C3380CC4-5D6E-409C-BE32-E72D297353CC}">
                <c16:uniqueId val="{00000015-902D-4251-AC41-C6D4CBCA5CD6}"/>
              </c:ext>
            </c:extLst>
          </c:dPt>
          <c:dPt>
            <c:idx val="11"/>
            <c:invertIfNegative val="1"/>
            <c:bubble3D val="0"/>
            <c:spPr>
              <a:solidFill>
                <a:srgbClr val="E6E5E5"/>
              </a:solidFill>
            </c:spPr>
            <c:extLst>
              <c:ext xmlns:c16="http://schemas.microsoft.com/office/drawing/2014/chart" uri="{C3380CC4-5D6E-409C-BE32-E72D297353CC}">
                <c16:uniqueId val="{00000017-902D-4251-AC41-C6D4CBCA5CD6}"/>
              </c:ext>
            </c:extLst>
          </c:dPt>
          <c:dPt>
            <c:idx val="12"/>
            <c:invertIfNegative val="1"/>
            <c:bubble3D val="0"/>
            <c:spPr>
              <a:solidFill>
                <a:srgbClr val="E6E5E5"/>
              </a:solidFill>
            </c:spPr>
            <c:extLst>
              <c:ext xmlns:c16="http://schemas.microsoft.com/office/drawing/2014/chart" uri="{C3380CC4-5D6E-409C-BE32-E72D297353CC}">
                <c16:uniqueId val="{00000019-902D-4251-AC41-C6D4CBCA5CD6}"/>
              </c:ext>
            </c:extLst>
          </c:dPt>
          <c:dPt>
            <c:idx val="13"/>
            <c:invertIfNegative val="1"/>
            <c:bubble3D val="0"/>
            <c:spPr>
              <a:solidFill>
                <a:srgbClr val="E6E5E5"/>
              </a:solidFill>
            </c:spPr>
            <c:extLst>
              <c:ext xmlns:c16="http://schemas.microsoft.com/office/drawing/2014/chart" uri="{C3380CC4-5D6E-409C-BE32-E72D297353CC}">
                <c16:uniqueId val="{0000001B-902D-4251-AC41-C6D4CBCA5CD6}"/>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02D-4251-AC41-C6D4CBCA5CD6}"/>
              </c:ext>
            </c:extLst>
          </c:dPt>
          <c:dPt>
            <c:idx val="15"/>
            <c:invertIfNegative val="1"/>
            <c:bubble3D val="0"/>
            <c:spPr>
              <a:solidFill>
                <a:srgbClr val="E6E5E5"/>
              </a:solidFill>
            </c:spPr>
            <c:extLst>
              <c:ext xmlns:c16="http://schemas.microsoft.com/office/drawing/2014/chart" uri="{C3380CC4-5D6E-409C-BE32-E72D297353CC}">
                <c16:uniqueId val="{0000001F-902D-4251-AC41-C6D4CBCA5CD6}"/>
              </c:ext>
            </c:extLst>
          </c:dPt>
          <c:dPt>
            <c:idx val="16"/>
            <c:invertIfNegative val="1"/>
            <c:bubble3D val="0"/>
            <c:spPr>
              <a:solidFill>
                <a:srgbClr val="E6E5E5"/>
              </a:solidFill>
            </c:spPr>
            <c:extLst>
              <c:ext xmlns:c16="http://schemas.microsoft.com/office/drawing/2014/chart" uri="{C3380CC4-5D6E-409C-BE32-E72D297353CC}">
                <c16:uniqueId val="{00000021-902D-4251-AC41-C6D4CBCA5CD6}"/>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02D-4251-AC41-C6D4CBCA5CD6}"/>
              </c:ext>
            </c:extLst>
          </c:dPt>
          <c:dPt>
            <c:idx val="18"/>
            <c:invertIfNegative val="1"/>
            <c:bubble3D val="0"/>
            <c:spPr>
              <a:solidFill>
                <a:srgbClr val="E6E5E5"/>
              </a:solidFill>
            </c:spPr>
            <c:extLst>
              <c:ext xmlns:c16="http://schemas.microsoft.com/office/drawing/2014/chart" uri="{C3380CC4-5D6E-409C-BE32-E72D297353CC}">
                <c16:uniqueId val="{00000025-902D-4251-AC41-C6D4CBCA5CD6}"/>
              </c:ext>
            </c:extLst>
          </c:dPt>
          <c:dPt>
            <c:idx val="19"/>
            <c:invertIfNegative val="1"/>
            <c:bubble3D val="0"/>
            <c:spPr>
              <a:solidFill>
                <a:srgbClr val="E6E5E5"/>
              </a:solidFill>
            </c:spPr>
            <c:extLst>
              <c:ext xmlns:c16="http://schemas.microsoft.com/office/drawing/2014/chart" uri="{C3380CC4-5D6E-409C-BE32-E72D297353CC}">
                <c16:uniqueId val="{00000027-902D-4251-AC41-C6D4CBCA5CD6}"/>
              </c:ext>
            </c:extLst>
          </c:dPt>
          <c:dPt>
            <c:idx val="20"/>
            <c:invertIfNegative val="1"/>
            <c:bubble3D val="0"/>
            <c:spPr>
              <a:solidFill>
                <a:srgbClr val="E6E5E5"/>
              </a:solidFill>
            </c:spPr>
            <c:extLst>
              <c:ext xmlns:c16="http://schemas.microsoft.com/office/drawing/2014/chart" uri="{C3380CC4-5D6E-409C-BE32-E72D297353CC}">
                <c16:uniqueId val="{00000029-902D-4251-AC41-C6D4CBCA5CD6}"/>
              </c:ext>
            </c:extLst>
          </c:dPt>
          <c:dPt>
            <c:idx val="21"/>
            <c:invertIfNegative val="1"/>
            <c:bubble3D val="0"/>
            <c:spPr>
              <a:solidFill>
                <a:srgbClr val="E6E5E5"/>
              </a:solidFill>
            </c:spPr>
            <c:extLst>
              <c:ext xmlns:c16="http://schemas.microsoft.com/office/drawing/2014/chart" uri="{C3380CC4-5D6E-409C-BE32-E72D297353CC}">
                <c16:uniqueId val="{0000002B-902D-4251-AC41-C6D4CBCA5CD6}"/>
              </c:ext>
            </c:extLst>
          </c:dPt>
          <c:dPt>
            <c:idx val="22"/>
            <c:invertIfNegative val="1"/>
            <c:bubble3D val="0"/>
            <c:spPr>
              <a:solidFill>
                <a:srgbClr val="E6E5E5"/>
              </a:solidFill>
            </c:spPr>
            <c:extLst>
              <c:ext xmlns:c16="http://schemas.microsoft.com/office/drawing/2014/chart" uri="{C3380CC4-5D6E-409C-BE32-E72D297353CC}">
                <c16:uniqueId val="{0000002D-902D-4251-AC41-C6D4CBCA5CD6}"/>
              </c:ext>
            </c:extLst>
          </c:dPt>
          <c:dPt>
            <c:idx val="23"/>
            <c:invertIfNegative val="1"/>
            <c:bubble3D val="0"/>
            <c:spPr>
              <a:solidFill>
                <a:srgbClr val="E6E5E5"/>
              </a:solidFill>
            </c:spPr>
            <c:extLst>
              <c:ext xmlns:c16="http://schemas.microsoft.com/office/drawing/2014/chart" uri="{C3380CC4-5D6E-409C-BE32-E72D297353CC}">
                <c16:uniqueId val="{0000002F-902D-4251-AC41-C6D4CBCA5CD6}"/>
              </c:ext>
            </c:extLst>
          </c:dPt>
          <c:dPt>
            <c:idx val="24"/>
            <c:invertIfNegative val="1"/>
            <c:bubble3D val="0"/>
            <c:spPr>
              <a:solidFill>
                <a:srgbClr val="E6E5E5"/>
              </a:solidFill>
            </c:spPr>
            <c:extLst>
              <c:ext xmlns:c16="http://schemas.microsoft.com/office/drawing/2014/chart" uri="{C3380CC4-5D6E-409C-BE32-E72D297353CC}">
                <c16:uniqueId val="{00000031-902D-4251-AC41-C6D4CBCA5CD6}"/>
              </c:ext>
            </c:extLst>
          </c:dPt>
          <c:dPt>
            <c:idx val="25"/>
            <c:invertIfNegative val="1"/>
            <c:bubble3D val="0"/>
            <c:spPr>
              <a:solidFill>
                <a:srgbClr val="E6E5E5"/>
              </a:solidFill>
            </c:spPr>
            <c:extLst>
              <c:ext xmlns:c16="http://schemas.microsoft.com/office/drawing/2014/chart" uri="{C3380CC4-5D6E-409C-BE32-E72D297353CC}">
                <c16:uniqueId val="{00000033-902D-4251-AC41-C6D4CBCA5CD6}"/>
              </c:ext>
            </c:extLst>
          </c:dPt>
          <c:dPt>
            <c:idx val="26"/>
            <c:invertIfNegative val="1"/>
            <c:bubble3D val="0"/>
            <c:spPr>
              <a:solidFill>
                <a:srgbClr val="E6E5E5"/>
              </a:solidFill>
            </c:spPr>
            <c:extLst>
              <c:ext xmlns:c16="http://schemas.microsoft.com/office/drawing/2014/chart" uri="{C3380CC4-5D6E-409C-BE32-E72D297353CC}">
                <c16:uniqueId val="{00000035-902D-4251-AC41-C6D4CBCA5CD6}"/>
              </c:ext>
            </c:extLst>
          </c:dPt>
          <c:dPt>
            <c:idx val="27"/>
            <c:invertIfNegative val="1"/>
            <c:bubble3D val="0"/>
            <c:spPr>
              <a:solidFill>
                <a:srgbClr val="E6E5E5"/>
              </a:solidFill>
            </c:spPr>
            <c:extLst>
              <c:ext xmlns:c16="http://schemas.microsoft.com/office/drawing/2014/chart" uri="{C3380CC4-5D6E-409C-BE32-E72D297353CC}">
                <c16:uniqueId val="{00000037-902D-4251-AC41-C6D4CBCA5CD6}"/>
              </c:ext>
            </c:extLst>
          </c:dPt>
          <c:dPt>
            <c:idx val="28"/>
            <c:invertIfNegative val="1"/>
            <c:bubble3D val="0"/>
            <c:spPr>
              <a:solidFill>
                <a:srgbClr val="E6E5E5"/>
              </a:solidFill>
            </c:spPr>
            <c:extLst>
              <c:ext xmlns:c16="http://schemas.microsoft.com/office/drawing/2014/chart" uri="{C3380CC4-5D6E-409C-BE32-E72D297353CC}">
                <c16:uniqueId val="{00000039-902D-4251-AC41-C6D4CBCA5CD6}"/>
              </c:ext>
            </c:extLst>
          </c:dPt>
          <c:dPt>
            <c:idx val="29"/>
            <c:invertIfNegative val="1"/>
            <c:bubble3D val="0"/>
            <c:spPr>
              <a:solidFill>
                <a:srgbClr val="E6E5E5"/>
              </a:solidFill>
            </c:spPr>
            <c:extLst>
              <c:ext xmlns:c16="http://schemas.microsoft.com/office/drawing/2014/chart" uri="{C3380CC4-5D6E-409C-BE32-E72D297353CC}">
                <c16:uniqueId val="{0000003B-902D-4251-AC41-C6D4CBCA5CD6}"/>
              </c:ext>
            </c:extLst>
          </c:dPt>
          <c:dPt>
            <c:idx val="30"/>
            <c:invertIfNegative val="1"/>
            <c:bubble3D val="0"/>
            <c:spPr>
              <a:solidFill>
                <a:srgbClr val="E6E5E5"/>
              </a:solidFill>
            </c:spPr>
            <c:extLst>
              <c:ext xmlns:c16="http://schemas.microsoft.com/office/drawing/2014/chart" uri="{C3380CC4-5D6E-409C-BE32-E72D297353CC}">
                <c16:uniqueId val="{0000003D-902D-4251-AC41-C6D4CBCA5CD6}"/>
              </c:ext>
            </c:extLst>
          </c:dPt>
          <c:dPt>
            <c:idx val="31"/>
            <c:invertIfNegative val="1"/>
            <c:bubble3D val="0"/>
            <c:spPr>
              <a:solidFill>
                <a:srgbClr val="E6E5E5"/>
              </a:solidFill>
            </c:spPr>
            <c:extLst>
              <c:ext xmlns:c16="http://schemas.microsoft.com/office/drawing/2014/chart" uri="{C3380CC4-5D6E-409C-BE32-E72D297353CC}">
                <c16:uniqueId val="{0000003F-902D-4251-AC41-C6D4CBCA5CD6}"/>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02D-4251-AC41-C6D4CBCA5CD6}"/>
              </c:ext>
            </c:extLst>
          </c:dPt>
          <c:dPt>
            <c:idx val="33"/>
            <c:invertIfNegative val="1"/>
            <c:bubble3D val="0"/>
            <c:spPr>
              <a:solidFill>
                <a:srgbClr val="E6E5E5"/>
              </a:solidFill>
            </c:spPr>
            <c:extLst>
              <c:ext xmlns:c16="http://schemas.microsoft.com/office/drawing/2014/chart" uri="{C3380CC4-5D6E-409C-BE32-E72D297353CC}">
                <c16:uniqueId val="{00000043-902D-4251-AC41-C6D4CBCA5CD6}"/>
              </c:ext>
            </c:extLst>
          </c:dPt>
          <c:dPt>
            <c:idx val="34"/>
            <c:invertIfNegative val="1"/>
            <c:bubble3D val="0"/>
            <c:spPr>
              <a:solidFill>
                <a:srgbClr val="E6E5E5"/>
              </a:solidFill>
            </c:spPr>
            <c:extLst>
              <c:ext xmlns:c16="http://schemas.microsoft.com/office/drawing/2014/chart" uri="{C3380CC4-5D6E-409C-BE32-E72D297353CC}">
                <c16:uniqueId val="{00000045-902D-4251-AC41-C6D4CBCA5CD6}"/>
              </c:ext>
            </c:extLst>
          </c:dPt>
          <c:dPt>
            <c:idx val="35"/>
            <c:invertIfNegative val="1"/>
            <c:bubble3D val="0"/>
            <c:spPr>
              <a:solidFill>
                <a:srgbClr val="E6E5E5"/>
              </a:solidFill>
            </c:spPr>
            <c:extLst>
              <c:ext xmlns:c16="http://schemas.microsoft.com/office/drawing/2014/chart" uri="{C3380CC4-5D6E-409C-BE32-E72D297353CC}">
                <c16:uniqueId val="{00000047-902D-4251-AC41-C6D4CBCA5CD6}"/>
              </c:ext>
            </c:extLst>
          </c:dPt>
          <c:dPt>
            <c:idx val="36"/>
            <c:invertIfNegative val="1"/>
            <c:bubble3D val="0"/>
            <c:spPr>
              <a:solidFill>
                <a:srgbClr val="E6E5E5"/>
              </a:solidFill>
            </c:spPr>
            <c:extLst>
              <c:ext xmlns:c16="http://schemas.microsoft.com/office/drawing/2014/chart" uri="{C3380CC4-5D6E-409C-BE32-E72D297353CC}">
                <c16:uniqueId val="{00000049-902D-4251-AC41-C6D4CBCA5CD6}"/>
              </c:ext>
            </c:extLst>
          </c:dPt>
          <c:dPt>
            <c:idx val="37"/>
            <c:invertIfNegative val="1"/>
            <c:bubble3D val="0"/>
            <c:spPr>
              <a:solidFill>
                <a:srgbClr val="E6E5E5"/>
              </a:solidFill>
            </c:spPr>
            <c:extLst>
              <c:ext xmlns:c16="http://schemas.microsoft.com/office/drawing/2014/chart" uri="{C3380CC4-5D6E-409C-BE32-E72D297353CC}">
                <c16:uniqueId val="{0000004B-902D-4251-AC41-C6D4CBCA5CD6}"/>
              </c:ext>
            </c:extLst>
          </c:dPt>
          <c:dPt>
            <c:idx val="38"/>
            <c:invertIfNegative val="1"/>
            <c:bubble3D val="0"/>
            <c:spPr>
              <a:solidFill>
                <a:srgbClr val="E6E5E5"/>
              </a:solidFill>
            </c:spPr>
            <c:extLst>
              <c:ext xmlns:c16="http://schemas.microsoft.com/office/drawing/2014/chart" uri="{C3380CC4-5D6E-409C-BE32-E72D297353CC}">
                <c16:uniqueId val="{0000004D-902D-4251-AC41-C6D4CBCA5CD6}"/>
              </c:ext>
            </c:extLst>
          </c:dPt>
          <c:dPt>
            <c:idx val="39"/>
            <c:invertIfNegative val="1"/>
            <c:bubble3D val="0"/>
            <c:spPr>
              <a:solidFill>
                <a:srgbClr val="E6E5E5"/>
              </a:solidFill>
            </c:spPr>
            <c:extLst>
              <c:ext xmlns:c16="http://schemas.microsoft.com/office/drawing/2014/chart" uri="{C3380CC4-5D6E-409C-BE32-E72D297353CC}">
                <c16:uniqueId val="{0000004F-902D-4251-AC41-C6D4CBCA5CD6}"/>
              </c:ext>
            </c:extLst>
          </c:dPt>
          <c:dPt>
            <c:idx val="40"/>
            <c:invertIfNegative val="1"/>
            <c:bubble3D val="0"/>
            <c:spPr>
              <a:solidFill>
                <a:srgbClr val="E6E5E5"/>
              </a:solidFill>
            </c:spPr>
            <c:extLst>
              <c:ext xmlns:c16="http://schemas.microsoft.com/office/drawing/2014/chart" uri="{C3380CC4-5D6E-409C-BE32-E72D297353CC}">
                <c16:uniqueId val="{00000051-902D-4251-AC41-C6D4CBCA5CD6}"/>
              </c:ext>
            </c:extLst>
          </c:dPt>
          <c:dPt>
            <c:idx val="41"/>
            <c:invertIfNegative val="1"/>
            <c:bubble3D val="0"/>
            <c:spPr>
              <a:solidFill>
                <a:srgbClr val="E6E5E5"/>
              </a:solidFill>
            </c:spPr>
            <c:extLst>
              <c:ext xmlns:c16="http://schemas.microsoft.com/office/drawing/2014/chart" uri="{C3380CC4-5D6E-409C-BE32-E72D297353CC}">
                <c16:uniqueId val="{00000053-902D-4251-AC41-C6D4CBCA5CD6}"/>
              </c:ext>
            </c:extLst>
          </c:dPt>
          <c:dPt>
            <c:idx val="42"/>
            <c:invertIfNegative val="1"/>
            <c:bubble3D val="0"/>
            <c:spPr>
              <a:solidFill>
                <a:srgbClr val="E6E5E5"/>
              </a:solidFill>
            </c:spPr>
            <c:extLst>
              <c:ext xmlns:c16="http://schemas.microsoft.com/office/drawing/2014/chart" uri="{C3380CC4-5D6E-409C-BE32-E72D297353CC}">
                <c16:uniqueId val="{00000055-902D-4251-AC41-C6D4CBCA5CD6}"/>
              </c:ext>
            </c:extLst>
          </c:dPt>
          <c:dPt>
            <c:idx val="43"/>
            <c:invertIfNegative val="1"/>
            <c:bubble3D val="0"/>
            <c:spPr>
              <a:solidFill>
                <a:srgbClr val="E6E5E5"/>
              </a:solidFill>
            </c:spPr>
            <c:extLst>
              <c:ext xmlns:c16="http://schemas.microsoft.com/office/drawing/2014/chart" uri="{C3380CC4-5D6E-409C-BE32-E72D297353CC}">
                <c16:uniqueId val="{00000057-902D-4251-AC41-C6D4CBCA5CD6}"/>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02D-4251-AC41-C6D4CBCA5CD6}"/>
              </c:ext>
            </c:extLst>
          </c:dPt>
          <c:dPt>
            <c:idx val="45"/>
            <c:invertIfNegative val="1"/>
            <c:bubble3D val="0"/>
            <c:spPr>
              <a:solidFill>
                <a:srgbClr val="E6E5E5"/>
              </a:solidFill>
            </c:spPr>
            <c:extLst>
              <c:ext xmlns:c16="http://schemas.microsoft.com/office/drawing/2014/chart" uri="{C3380CC4-5D6E-409C-BE32-E72D297353CC}">
                <c16:uniqueId val="{0000005B-902D-4251-AC41-C6D4CBCA5CD6}"/>
              </c:ext>
            </c:extLst>
          </c:dPt>
          <c:dPt>
            <c:idx val="46"/>
            <c:invertIfNegative val="1"/>
            <c:bubble3D val="0"/>
            <c:spPr>
              <a:solidFill>
                <a:srgbClr val="E6E5E5"/>
              </a:solidFill>
            </c:spPr>
            <c:extLst>
              <c:ext xmlns:c16="http://schemas.microsoft.com/office/drawing/2014/chart" uri="{C3380CC4-5D6E-409C-BE32-E72D297353CC}">
                <c16:uniqueId val="{0000005D-902D-4251-AC41-C6D4CBCA5CD6}"/>
              </c:ext>
            </c:extLst>
          </c:dPt>
          <c:dPt>
            <c:idx val="47"/>
            <c:invertIfNegative val="1"/>
            <c:bubble3D val="0"/>
            <c:spPr>
              <a:solidFill>
                <a:srgbClr val="E6E5E5"/>
              </a:solidFill>
            </c:spPr>
            <c:extLst>
              <c:ext xmlns:c16="http://schemas.microsoft.com/office/drawing/2014/chart" uri="{C3380CC4-5D6E-409C-BE32-E72D297353CC}">
                <c16:uniqueId val="{0000005F-902D-4251-AC41-C6D4CBCA5CD6}"/>
              </c:ext>
            </c:extLst>
          </c:dPt>
          <c:dPt>
            <c:idx val="48"/>
            <c:invertIfNegative val="1"/>
            <c:bubble3D val="0"/>
            <c:spPr>
              <a:solidFill>
                <a:srgbClr val="E6E5E5"/>
              </a:solidFill>
            </c:spPr>
            <c:extLst>
              <c:ext xmlns:c16="http://schemas.microsoft.com/office/drawing/2014/chart" uri="{C3380CC4-5D6E-409C-BE32-E72D297353CC}">
                <c16:uniqueId val="{00000061-902D-4251-AC41-C6D4CBCA5CD6}"/>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02D-4251-AC41-C6D4CBCA5CD6}"/>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02D-4251-AC41-C6D4CBCA5CD6}"/>
              </c:ext>
            </c:extLst>
          </c:dPt>
          <c:dPt>
            <c:idx val="51"/>
            <c:invertIfNegative val="1"/>
            <c:bubble3D val="0"/>
            <c:spPr>
              <a:solidFill>
                <a:srgbClr val="E6E5E5"/>
              </a:solidFill>
            </c:spPr>
            <c:extLst>
              <c:ext xmlns:c16="http://schemas.microsoft.com/office/drawing/2014/chart" uri="{C3380CC4-5D6E-409C-BE32-E72D297353CC}">
                <c16:uniqueId val="{00000067-902D-4251-AC41-C6D4CBCA5CD6}"/>
              </c:ext>
            </c:extLst>
          </c:dPt>
          <c:dPt>
            <c:idx val="52"/>
            <c:invertIfNegative val="1"/>
            <c:bubble3D val="0"/>
            <c:spPr>
              <a:solidFill>
                <a:srgbClr val="E6E5E5"/>
              </a:solidFill>
            </c:spPr>
            <c:extLst>
              <c:ext xmlns:c16="http://schemas.microsoft.com/office/drawing/2014/chart" uri="{C3380CC4-5D6E-409C-BE32-E72D297353CC}">
                <c16:uniqueId val="{00000069-902D-4251-AC41-C6D4CBCA5CD6}"/>
              </c:ext>
            </c:extLst>
          </c:dPt>
          <c:dPt>
            <c:idx val="53"/>
            <c:invertIfNegative val="1"/>
            <c:bubble3D val="0"/>
            <c:spPr>
              <a:solidFill>
                <a:srgbClr val="E6E5E5"/>
              </a:solidFill>
            </c:spPr>
            <c:extLst>
              <c:ext xmlns:c16="http://schemas.microsoft.com/office/drawing/2014/chart" uri="{C3380CC4-5D6E-409C-BE32-E72D297353CC}">
                <c16:uniqueId val="{0000006B-B2E8-4080-83D6-EECA18439E6A}"/>
              </c:ext>
            </c:extLst>
          </c:dPt>
          <c:dPt>
            <c:idx val="54"/>
            <c:invertIfNegative val="1"/>
            <c:bubble3D val="0"/>
            <c:spPr>
              <a:solidFill>
                <a:srgbClr val="E6E5E5"/>
              </a:solidFill>
            </c:spPr>
            <c:extLst>
              <c:ext xmlns:c16="http://schemas.microsoft.com/office/drawing/2014/chart" uri="{C3380CC4-5D6E-409C-BE32-E72D297353CC}">
                <c16:uniqueId val="{0000006D-B2E8-4080-83D6-EECA18439E6A}"/>
              </c:ext>
            </c:extLst>
          </c:dPt>
          <c:dPt>
            <c:idx val="55"/>
            <c:invertIfNegative val="1"/>
            <c:bubble3D val="0"/>
            <c:spPr>
              <a:solidFill>
                <a:srgbClr val="E6E5E5"/>
              </a:solidFill>
            </c:spPr>
            <c:extLst>
              <c:ext xmlns:c16="http://schemas.microsoft.com/office/drawing/2014/chart" uri="{C3380CC4-5D6E-409C-BE32-E72D297353CC}">
                <c16:uniqueId val="{0000006F-B2E8-4080-83D6-EECA18439E6A}"/>
              </c:ext>
            </c:extLst>
          </c:dPt>
          <c:dPt>
            <c:idx val="56"/>
            <c:invertIfNegative val="1"/>
            <c:bubble3D val="0"/>
            <c:spPr>
              <a:solidFill>
                <a:srgbClr val="E6E5E5"/>
              </a:solidFill>
            </c:spPr>
            <c:extLst>
              <c:ext xmlns:c16="http://schemas.microsoft.com/office/drawing/2014/chart" uri="{C3380CC4-5D6E-409C-BE32-E72D297353CC}">
                <c16:uniqueId val="{00000071-B2E8-4080-83D6-EECA18439E6A}"/>
              </c:ext>
            </c:extLst>
          </c:dPt>
          <c:dPt>
            <c:idx val="57"/>
            <c:invertIfNegative val="1"/>
            <c:bubble3D val="0"/>
            <c:spPr>
              <a:solidFill>
                <a:srgbClr val="E6E5E5"/>
              </a:solidFill>
            </c:spPr>
            <c:extLst>
              <c:ext xmlns:c16="http://schemas.microsoft.com/office/drawing/2014/chart" uri="{C3380CC4-5D6E-409C-BE32-E72D297353CC}">
                <c16:uniqueId val="{00000073-B2E8-4080-83D6-EECA18439E6A}"/>
              </c:ext>
            </c:extLst>
          </c:dPt>
          <c:dPt>
            <c:idx val="58"/>
            <c:invertIfNegative val="1"/>
            <c:bubble3D val="0"/>
            <c:spPr>
              <a:solidFill>
                <a:srgbClr val="E6E5E5"/>
              </a:solidFill>
            </c:spPr>
            <c:extLst>
              <c:ext xmlns:c16="http://schemas.microsoft.com/office/drawing/2014/chart" uri="{C3380CC4-5D6E-409C-BE32-E72D297353CC}">
                <c16:uniqueId val="{00000075-B2E8-4080-83D6-EECA18439E6A}"/>
              </c:ext>
            </c:extLst>
          </c:dPt>
          <c:dPt>
            <c:idx val="59"/>
            <c:invertIfNegative val="1"/>
            <c:bubble3D val="0"/>
            <c:spPr>
              <a:solidFill>
                <a:srgbClr val="E6E5E5"/>
              </a:solidFill>
            </c:spPr>
            <c:extLst>
              <c:ext xmlns:c16="http://schemas.microsoft.com/office/drawing/2014/chart" uri="{C3380CC4-5D6E-409C-BE32-E72D297353CC}">
                <c16:uniqueId val="{00000077-B2E8-4080-83D6-EECA18439E6A}"/>
              </c:ext>
            </c:extLst>
          </c:dPt>
          <c:dPt>
            <c:idx val="60"/>
            <c:invertIfNegative val="1"/>
            <c:bubble3D val="0"/>
            <c:spPr>
              <a:solidFill>
                <a:srgbClr val="E6E5E5"/>
              </a:solidFill>
            </c:spPr>
            <c:extLst>
              <c:ext xmlns:c16="http://schemas.microsoft.com/office/drawing/2014/chart" uri="{C3380CC4-5D6E-409C-BE32-E72D297353CC}">
                <c16:uniqueId val="{00000079-B2E8-4080-83D6-EECA18439E6A}"/>
              </c:ext>
            </c:extLst>
          </c:dPt>
          <c:dPt>
            <c:idx val="61"/>
            <c:invertIfNegative val="1"/>
            <c:bubble3D val="0"/>
            <c:spPr>
              <a:solidFill>
                <a:srgbClr val="E6E5E5"/>
              </a:solidFill>
            </c:spPr>
            <c:extLst>
              <c:ext xmlns:c16="http://schemas.microsoft.com/office/drawing/2014/chart" uri="{C3380CC4-5D6E-409C-BE32-E72D297353CC}">
                <c16:uniqueId val="{0000007B-B2E8-4080-83D6-EECA18439E6A}"/>
              </c:ext>
            </c:extLst>
          </c:dPt>
          <c:dPt>
            <c:idx val="62"/>
            <c:invertIfNegative val="1"/>
            <c:bubble3D val="0"/>
            <c:spPr>
              <a:solidFill>
                <a:srgbClr val="E6E5E5"/>
              </a:solidFill>
            </c:spPr>
            <c:extLst>
              <c:ext xmlns:c16="http://schemas.microsoft.com/office/drawing/2014/chart" uri="{C3380CC4-5D6E-409C-BE32-E72D297353CC}">
                <c16:uniqueId val="{0000007D-B2E8-4080-83D6-EECA18439E6A}"/>
              </c:ext>
            </c:extLst>
          </c:dPt>
          <c:dPt>
            <c:idx val="63"/>
            <c:invertIfNegative val="1"/>
            <c:bubble3D val="0"/>
            <c:spPr>
              <a:solidFill>
                <a:srgbClr val="E6E5E5"/>
              </a:solidFill>
            </c:spPr>
            <c:extLst>
              <c:ext xmlns:c16="http://schemas.microsoft.com/office/drawing/2014/chart" uri="{C3380CC4-5D6E-409C-BE32-E72D297353CC}">
                <c16:uniqueId val="{0000007F-B2E8-4080-83D6-EECA18439E6A}"/>
              </c:ext>
            </c:extLst>
          </c:dPt>
          <c:dPt>
            <c:idx val="64"/>
            <c:invertIfNegative val="1"/>
            <c:bubble3D val="0"/>
            <c:spPr>
              <a:solidFill>
                <a:srgbClr val="E6E5E5"/>
              </a:solidFill>
            </c:spPr>
            <c:extLst>
              <c:ext xmlns:c16="http://schemas.microsoft.com/office/drawing/2014/chart" uri="{C3380CC4-5D6E-409C-BE32-E72D297353CC}">
                <c16:uniqueId val="{00000081-B2E8-4080-83D6-EECA18439E6A}"/>
              </c:ext>
            </c:extLst>
          </c:dPt>
          <c:dPt>
            <c:idx val="65"/>
            <c:invertIfNegative val="1"/>
            <c:bubble3D val="0"/>
            <c:spPr>
              <a:solidFill>
                <a:srgbClr val="E6E5E5"/>
              </a:solidFill>
            </c:spPr>
            <c:extLst>
              <c:ext xmlns:c16="http://schemas.microsoft.com/office/drawing/2014/chart" uri="{C3380CC4-5D6E-409C-BE32-E72D297353CC}">
                <c16:uniqueId val="{00000083-B2E8-4080-83D6-EECA18439E6A}"/>
              </c:ext>
            </c:extLst>
          </c:dPt>
          <c:dPt>
            <c:idx val="66"/>
            <c:invertIfNegative val="1"/>
            <c:bubble3D val="0"/>
            <c:spPr>
              <a:solidFill>
                <a:srgbClr val="E6E5E5"/>
              </a:solidFill>
            </c:spPr>
            <c:extLst>
              <c:ext xmlns:c16="http://schemas.microsoft.com/office/drawing/2014/chart" uri="{C3380CC4-5D6E-409C-BE32-E72D297353CC}">
                <c16:uniqueId val="{00000085-B2E8-4080-83D6-EECA18439E6A}"/>
              </c:ext>
            </c:extLst>
          </c:dPt>
          <c:dPt>
            <c:idx val="67"/>
            <c:invertIfNegative val="1"/>
            <c:bubble3D val="0"/>
            <c:spPr>
              <a:solidFill>
                <a:srgbClr val="E6E5E5"/>
              </a:solidFill>
            </c:spPr>
            <c:extLst>
              <c:ext xmlns:c16="http://schemas.microsoft.com/office/drawing/2014/chart" uri="{C3380CC4-5D6E-409C-BE32-E72D297353CC}">
                <c16:uniqueId val="{00000087-B2E8-4080-83D6-EECA18439E6A}"/>
              </c:ext>
            </c:extLst>
          </c:dPt>
          <c:dPt>
            <c:idx val="68"/>
            <c:invertIfNegative val="1"/>
            <c:bubble3D val="0"/>
            <c:spPr>
              <a:solidFill>
                <a:srgbClr val="E6E5E5"/>
              </a:solidFill>
            </c:spPr>
            <c:extLst>
              <c:ext xmlns:c16="http://schemas.microsoft.com/office/drawing/2014/chart" uri="{C3380CC4-5D6E-409C-BE32-E72D297353CC}">
                <c16:uniqueId val="{00000089-B2E8-4080-83D6-EECA18439E6A}"/>
              </c:ext>
            </c:extLst>
          </c:dPt>
          <c:dPt>
            <c:idx val="69"/>
            <c:invertIfNegative val="1"/>
            <c:bubble3D val="0"/>
            <c:spPr>
              <a:solidFill>
                <a:srgbClr val="E6E5E5"/>
              </a:solidFill>
            </c:spPr>
            <c:extLst>
              <c:ext xmlns:c16="http://schemas.microsoft.com/office/drawing/2014/chart" uri="{C3380CC4-5D6E-409C-BE32-E72D297353CC}">
                <c16:uniqueId val="{0000008B-B2E8-4080-83D6-EECA18439E6A}"/>
              </c:ext>
            </c:extLst>
          </c:dPt>
          <c:dPt>
            <c:idx val="70"/>
            <c:invertIfNegative val="1"/>
            <c:bubble3D val="0"/>
            <c:spPr>
              <a:solidFill>
                <a:srgbClr val="E6E5E5"/>
              </a:solidFill>
            </c:spPr>
            <c:extLst>
              <c:ext xmlns:c16="http://schemas.microsoft.com/office/drawing/2014/chart" uri="{C3380CC4-5D6E-409C-BE32-E72D297353CC}">
                <c16:uniqueId val="{0000008D-B2E8-4080-83D6-EECA18439E6A}"/>
              </c:ext>
            </c:extLst>
          </c:dPt>
          <c:dPt>
            <c:idx val="71"/>
            <c:invertIfNegative val="1"/>
            <c:bubble3D val="0"/>
            <c:spPr>
              <a:solidFill>
                <a:srgbClr val="E6E5E5"/>
              </a:solidFill>
            </c:spPr>
            <c:extLst>
              <c:ext xmlns:c16="http://schemas.microsoft.com/office/drawing/2014/chart" uri="{C3380CC4-5D6E-409C-BE32-E72D297353CC}">
                <c16:uniqueId val="{0000008F-B2E8-4080-83D6-EECA18439E6A}"/>
              </c:ext>
            </c:extLst>
          </c:dPt>
          <c:dPt>
            <c:idx val="72"/>
            <c:invertIfNegative val="1"/>
            <c:bubble3D val="0"/>
            <c:spPr>
              <a:solidFill>
                <a:srgbClr val="E6E5E5"/>
              </a:solidFill>
            </c:spPr>
            <c:extLst>
              <c:ext xmlns:c16="http://schemas.microsoft.com/office/drawing/2014/chart" uri="{C3380CC4-5D6E-409C-BE32-E72D297353CC}">
                <c16:uniqueId val="{00000091-B2E8-4080-83D6-EECA18439E6A}"/>
              </c:ext>
            </c:extLst>
          </c:dPt>
          <c:dPt>
            <c:idx val="73"/>
            <c:invertIfNegative val="1"/>
            <c:bubble3D val="0"/>
            <c:spPr>
              <a:solidFill>
                <a:srgbClr val="E6E5E5"/>
              </a:solidFill>
            </c:spPr>
            <c:extLst>
              <c:ext xmlns:c16="http://schemas.microsoft.com/office/drawing/2014/chart" uri="{C3380CC4-5D6E-409C-BE32-E72D297353CC}">
                <c16:uniqueId val="{00000093-B2E8-4080-83D6-EECA18439E6A}"/>
              </c:ext>
            </c:extLst>
          </c:dPt>
          <c:dPt>
            <c:idx val="74"/>
            <c:invertIfNegative val="1"/>
            <c:bubble3D val="0"/>
            <c:spPr>
              <a:solidFill>
                <a:srgbClr val="C00000"/>
              </a:solidFill>
            </c:spPr>
            <c:extLst>
              <c:ext xmlns:c16="http://schemas.microsoft.com/office/drawing/2014/chart" uri="{C3380CC4-5D6E-409C-BE32-E72D297353CC}">
                <c16:uniqueId val="{00000095-B2E8-4080-83D6-EECA18439E6A}"/>
              </c:ext>
            </c:extLst>
          </c:dPt>
          <c:dPt>
            <c:idx val="75"/>
            <c:invertIfNegative val="1"/>
            <c:bubble3D val="0"/>
            <c:spPr>
              <a:solidFill>
                <a:srgbClr val="E6E5E5"/>
              </a:solidFill>
            </c:spPr>
            <c:extLst>
              <c:ext xmlns:c16="http://schemas.microsoft.com/office/drawing/2014/chart" uri="{C3380CC4-5D6E-409C-BE32-E72D297353CC}">
                <c16:uniqueId val="{00000097-B2E8-4080-83D6-EECA18439E6A}"/>
              </c:ext>
            </c:extLst>
          </c:dPt>
          <c:dPt>
            <c:idx val="76"/>
            <c:invertIfNegative val="1"/>
            <c:bubble3D val="0"/>
            <c:spPr>
              <a:solidFill>
                <a:srgbClr val="E6E5E5"/>
              </a:solidFill>
            </c:spPr>
            <c:extLst>
              <c:ext xmlns:c16="http://schemas.microsoft.com/office/drawing/2014/chart" uri="{C3380CC4-5D6E-409C-BE32-E72D297353CC}">
                <c16:uniqueId val="{00000099-B2E8-4080-83D6-EECA18439E6A}"/>
              </c:ext>
            </c:extLst>
          </c:dPt>
          <c:dPt>
            <c:idx val="77"/>
            <c:invertIfNegative val="1"/>
            <c:bubble3D val="0"/>
            <c:spPr>
              <a:solidFill>
                <a:srgbClr val="E6E5E5"/>
              </a:solidFill>
            </c:spPr>
            <c:extLst>
              <c:ext xmlns:c16="http://schemas.microsoft.com/office/drawing/2014/chart" uri="{C3380CC4-5D6E-409C-BE32-E72D297353CC}">
                <c16:uniqueId val="{0000009B-B2E8-4080-83D6-EECA18439E6A}"/>
              </c:ext>
            </c:extLst>
          </c:dPt>
          <c:dPt>
            <c:idx val="78"/>
            <c:invertIfNegative val="1"/>
            <c:bubble3D val="0"/>
            <c:spPr>
              <a:solidFill>
                <a:srgbClr val="E6E5E5"/>
              </a:solidFill>
            </c:spPr>
            <c:extLst>
              <c:ext xmlns:c16="http://schemas.microsoft.com/office/drawing/2014/chart" uri="{C3380CC4-5D6E-409C-BE32-E72D297353CC}">
                <c16:uniqueId val="{0000009D-B2E8-4080-83D6-EECA18439E6A}"/>
              </c:ext>
            </c:extLst>
          </c:dPt>
          <c:dPt>
            <c:idx val="79"/>
            <c:invertIfNegative val="1"/>
            <c:bubble3D val="0"/>
            <c:spPr>
              <a:solidFill>
                <a:srgbClr val="E6E5E5"/>
              </a:solidFill>
            </c:spPr>
            <c:extLst>
              <c:ext xmlns:c16="http://schemas.microsoft.com/office/drawing/2014/chart" uri="{C3380CC4-5D6E-409C-BE32-E72D297353CC}">
                <c16:uniqueId val="{0000009F-B2E8-4080-83D6-EECA18439E6A}"/>
              </c:ext>
            </c:extLst>
          </c:dPt>
          <c:dPt>
            <c:idx val="80"/>
            <c:invertIfNegative val="1"/>
            <c:bubble3D val="0"/>
            <c:spPr>
              <a:solidFill>
                <a:srgbClr val="E6E5E5"/>
              </a:solidFill>
            </c:spPr>
            <c:extLst>
              <c:ext xmlns:c16="http://schemas.microsoft.com/office/drawing/2014/chart" uri="{C3380CC4-5D6E-409C-BE32-E72D297353CC}">
                <c16:uniqueId val="{000000A1-B2E8-4080-83D6-EECA18439E6A}"/>
              </c:ext>
            </c:extLst>
          </c:dPt>
          <c:dPt>
            <c:idx val="81"/>
            <c:invertIfNegative val="1"/>
            <c:bubble3D val="0"/>
            <c:spPr>
              <a:solidFill>
                <a:srgbClr val="E6E5E5"/>
              </a:solidFill>
            </c:spPr>
            <c:extLst>
              <c:ext xmlns:c16="http://schemas.microsoft.com/office/drawing/2014/chart" uri="{C3380CC4-5D6E-409C-BE32-E72D297353CC}">
                <c16:uniqueId val="{000000A3-B2E8-4080-83D6-EECA18439E6A}"/>
              </c:ext>
            </c:extLst>
          </c:dPt>
          <c:dPt>
            <c:idx val="82"/>
            <c:invertIfNegative val="1"/>
            <c:bubble3D val="0"/>
            <c:spPr>
              <a:solidFill>
                <a:srgbClr val="E6E5E5"/>
              </a:solidFill>
            </c:spPr>
            <c:extLst>
              <c:ext xmlns:c16="http://schemas.microsoft.com/office/drawing/2014/chart" uri="{C3380CC4-5D6E-409C-BE32-E72D297353CC}">
                <c16:uniqueId val="{000000A5-B2E8-4080-83D6-EECA18439E6A}"/>
              </c:ext>
            </c:extLst>
          </c:dPt>
          <c:dPt>
            <c:idx val="83"/>
            <c:invertIfNegative val="1"/>
            <c:bubble3D val="0"/>
            <c:spPr>
              <a:solidFill>
                <a:srgbClr val="E6E5E5"/>
              </a:solidFill>
            </c:spPr>
            <c:extLst>
              <c:ext xmlns:c16="http://schemas.microsoft.com/office/drawing/2014/chart" uri="{C3380CC4-5D6E-409C-BE32-E72D297353CC}">
                <c16:uniqueId val="{000000A7-B2E8-4080-83D6-EECA18439E6A}"/>
              </c:ext>
            </c:extLst>
          </c:dPt>
          <c:dPt>
            <c:idx val="84"/>
            <c:invertIfNegative val="1"/>
            <c:bubble3D val="0"/>
            <c:spPr>
              <a:solidFill>
                <a:srgbClr val="E6E5E5"/>
              </a:solidFill>
            </c:spPr>
            <c:extLst>
              <c:ext xmlns:c16="http://schemas.microsoft.com/office/drawing/2014/chart" uri="{C3380CC4-5D6E-409C-BE32-E72D297353CC}">
                <c16:uniqueId val="{000000A9-B2E8-4080-83D6-EECA18439E6A}"/>
              </c:ext>
            </c:extLst>
          </c:dPt>
          <c:dPt>
            <c:idx val="85"/>
            <c:invertIfNegative val="1"/>
            <c:bubble3D val="0"/>
            <c:spPr>
              <a:solidFill>
                <a:srgbClr val="E6E5E5"/>
              </a:solidFill>
            </c:spPr>
            <c:extLst>
              <c:ext xmlns:c16="http://schemas.microsoft.com/office/drawing/2014/chart" uri="{C3380CC4-5D6E-409C-BE32-E72D297353CC}">
                <c16:uniqueId val="{000000AB-B2E8-4080-83D6-EECA18439E6A}"/>
              </c:ext>
            </c:extLst>
          </c:dPt>
          <c:dPt>
            <c:idx val="86"/>
            <c:invertIfNegative val="1"/>
            <c:bubble3D val="0"/>
            <c:spPr>
              <a:solidFill>
                <a:srgbClr val="E6E5E5"/>
              </a:solidFill>
            </c:spPr>
            <c:extLst>
              <c:ext xmlns:c16="http://schemas.microsoft.com/office/drawing/2014/chart" uri="{C3380CC4-5D6E-409C-BE32-E72D297353CC}">
                <c16:uniqueId val="{000000AD-B2E8-4080-83D6-EECA18439E6A}"/>
              </c:ext>
            </c:extLst>
          </c:dPt>
          <c:dPt>
            <c:idx val="87"/>
            <c:invertIfNegative val="1"/>
            <c:bubble3D val="0"/>
            <c:spPr>
              <a:solidFill>
                <a:srgbClr val="E6E5E5"/>
              </a:solidFill>
            </c:spPr>
            <c:extLst>
              <c:ext xmlns:c16="http://schemas.microsoft.com/office/drawing/2014/chart" uri="{C3380CC4-5D6E-409C-BE32-E72D297353CC}">
                <c16:uniqueId val="{000000AF-B2E8-4080-83D6-EECA18439E6A}"/>
              </c:ext>
            </c:extLst>
          </c:dPt>
          <c:dPt>
            <c:idx val="88"/>
            <c:invertIfNegative val="1"/>
            <c:bubble3D val="0"/>
            <c:spPr>
              <a:solidFill>
                <a:srgbClr val="E6E5E5"/>
              </a:solidFill>
            </c:spPr>
            <c:extLst>
              <c:ext xmlns:c16="http://schemas.microsoft.com/office/drawing/2014/chart" uri="{C3380CC4-5D6E-409C-BE32-E72D297353CC}">
                <c16:uniqueId val="{000000B1-B2E8-4080-83D6-EECA18439E6A}"/>
              </c:ext>
            </c:extLst>
          </c:dPt>
          <c:dPt>
            <c:idx val="89"/>
            <c:invertIfNegative val="1"/>
            <c:bubble3D val="0"/>
            <c:spPr>
              <a:solidFill>
                <a:srgbClr val="E6E5E5"/>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r>
                      <a:rPr sz="500">
                        <a:solidFill>
                          <a:srgbClr val="C00000"/>
                        </a:solidFill>
                      </a:rPr>
                      <a:t>Danone Smartfood Vainilla 5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9</c:f>
              <c:strCache>
                <c:ptCount val="88"/>
                <c:pt idx="0">
                  <c:v>Carrefour Natural 8x125g</c:v>
                </c:pt>
                <c:pt idx="1">
                  <c:v>Danone Fresa 4x120g</c:v>
                </c:pt>
                <c:pt idx="2">
                  <c:v>Carrefour Griego Natural 6x125g</c:v>
                </c:pt>
                <c:pt idx="3">
                  <c:v>Carrefour Sabores Mix 16x125g</c:v>
                </c:pt>
                <c:pt idx="4">
                  <c:v>Carrefour Griego Natural 1000g</c:v>
                </c:pt>
                <c:pt idx="5">
                  <c:v>Danone Natural 8x120g</c:v>
                </c:pt>
                <c:pt idx="6">
                  <c:v>Carrefour Griego Stracciatella 6x125g</c:v>
                </c:pt>
                <c:pt idx="7">
                  <c:v>Carrefour Griego Fresa 6x125g</c:v>
                </c:pt>
                <c:pt idx="8">
                  <c:v>Alpro Coco 400g</c:v>
                </c:pt>
                <c:pt idx="9">
                  <c:v>Carrefour L-Casei Fresa/Plátano y Piña/Coco 12x100g</c:v>
                </c:pt>
                <c:pt idx="10">
                  <c:v>Activia Natural 0% 8x120g</c:v>
                </c:pt>
                <c:pt idx="11">
                  <c:v>Actimel Fresa 6x100g</c:v>
                </c:pt>
                <c:pt idx="12">
                  <c:v>Carrefour Kefir 500g</c:v>
                </c:pt>
                <c:pt idx="13">
                  <c:v>Carrefour Fresa &amp; Plátano 8x125g</c:v>
                </c:pt>
                <c:pt idx="14">
                  <c:v>Carrefour Bifidus Fresa 0% 4x125g</c:v>
                </c:pt>
                <c:pt idx="15">
                  <c:v>Danone Mix Coco/Fresa/Frutos del Bosque/Macedoine 8x120g</c:v>
                </c:pt>
                <c:pt idx="16">
                  <c:v>Activia Natural 0% 16x120g</c:v>
                </c:pt>
                <c:pt idx="17">
                  <c:v>Activia Melocotón 0% 4x120g</c:v>
                </c:pt>
                <c:pt idx="18">
                  <c:v>Activia Natural 8x120g</c:v>
                </c:pt>
                <c:pt idx="19">
                  <c:v>Oikos Griego Natural 4x110g</c:v>
                </c:pt>
                <c:pt idx="20">
                  <c:v>Carrefour Natural 0% 6x125g</c:v>
                </c:pt>
                <c:pt idx="21">
                  <c:v>Vitalinea Fresa 0% 4x120g</c:v>
                </c:pt>
                <c:pt idx="22">
                  <c:v>Danone Griego Stracciatella 4x110g</c:v>
                </c:pt>
                <c:pt idx="23">
                  <c:v>Activia Cremoso Fresa 4x115g</c:v>
                </c:pt>
                <c:pt idx="24">
                  <c:v>Danone Proteína Stracciatella 4x105g</c:v>
                </c:pt>
                <c:pt idx="25">
                  <c:v>Danacol Limón 6x100g</c:v>
                </c:pt>
                <c:pt idx="26">
                  <c:v>Oikos Griego Fresa 4x110g</c:v>
                </c:pt>
                <c:pt idx="27">
                  <c:v>Activia Avena Nueces 4x115g</c:v>
                </c:pt>
                <c:pt idx="28">
                  <c:v>Danone Griego Natural 4x110g</c:v>
                </c:pt>
                <c:pt idx="29">
                  <c:v>La Lechera Fresa 2x125g</c:v>
                </c:pt>
                <c:pt idx="30">
                  <c:v>Carrefour Fresa 0% 6x125g</c:v>
                </c:pt>
                <c:pt idx="31">
                  <c:v>Activia Natural 0% 4x120g</c:v>
                </c:pt>
                <c:pt idx="32">
                  <c:v>Carrefour Bifidus Natural 0% 6x125g</c:v>
                </c:pt>
                <c:pt idx="33">
                  <c:v>Danonino Fresa 4x100g</c:v>
                </c:pt>
                <c:pt idx="34">
                  <c:v>Carrefour Sabores Mix 12x125g</c:v>
                </c:pt>
                <c:pt idx="35">
                  <c:v>Carrefour Proteína Plátano 400g</c:v>
                </c:pt>
                <c:pt idx="36">
                  <c:v>Actimel Natural 0% 6x100g</c:v>
                </c:pt>
                <c:pt idx="37">
                  <c:v>Carrefour Bifidus Muesli 0% 4x125g</c:v>
                </c:pt>
                <c:pt idx="38">
                  <c:v>YoPro Fresa 300g</c:v>
                </c:pt>
                <c:pt idx="39">
                  <c:v>Carrefour Bifidus Frutos Rojos 4x125g</c:v>
                </c:pt>
                <c:pt idx="40">
                  <c:v>Danonino Fresa 6x50g</c:v>
                </c:pt>
                <c:pt idx="41">
                  <c:v>Danacol Natural 6x100g</c:v>
                </c:pt>
                <c:pt idx="42">
                  <c:v>Carrefour Kefir Mango Líquido 500g</c:v>
                </c:pt>
                <c:pt idx="43">
                  <c:v>Activia Cremoso Lima/Limón 4x115g</c:v>
                </c:pt>
                <c:pt idx="44">
                  <c:v>Carrefour Natural Líquido 500g</c:v>
                </c:pt>
                <c:pt idx="45">
                  <c:v>Carrefour Petit Fresa y Plátano 12x60g</c:v>
                </c:pt>
                <c:pt idx="46">
                  <c:v>El Pastoret Melocotón y Maracuyá 500g</c:v>
                </c:pt>
                <c:pt idx="47">
                  <c:v>Carrefour Actuàlcol Tropical 8x100g</c:v>
                </c:pt>
                <c:pt idx="48">
                  <c:v>Carrefour L-Casei Fresa 0% 6x100g</c:v>
                </c:pt>
                <c:pt idx="49">
                  <c:v>El Pastoret Kefir Natural 500g</c:v>
                </c:pt>
                <c:pt idx="50">
                  <c:v>Danone Proteína Fresa 0% 270g</c:v>
                </c:pt>
                <c:pt idx="51">
                  <c:v>Alpro Skyr Fresa 400g</c:v>
                </c:pt>
                <c:pt idx="52">
                  <c:v>Actimel Natural 12x100g</c:v>
                </c:pt>
                <c:pt idx="53">
                  <c:v>Nestlé Kefir Natural 6x100g</c:v>
                </c:pt>
                <c:pt idx="54">
                  <c:v>Danonino Fresa 4x70g</c:v>
                </c:pt>
                <c:pt idx="55">
                  <c:v>Danone Proteína Chocolate 4x120g</c:v>
                </c:pt>
                <c:pt idx="56">
                  <c:v>Activia Muesli 0% 4x115g</c:v>
                </c:pt>
                <c:pt idx="57">
                  <c:v>Carrefour Kefir Natural 4x125g</c:v>
                </c:pt>
                <c:pt idx="58">
                  <c:v>Danacol Natural 12x100g</c:v>
                </c:pt>
                <c:pt idx="59">
                  <c:v>Carrefour Soja Natural 6x100g</c:v>
                </c:pt>
                <c:pt idx="60">
                  <c:v>YoPro Pudding Chocolate 180g</c:v>
                </c:pt>
                <c:pt idx="61">
                  <c:v>Oikos Griego Natural 900g</c:v>
                </c:pt>
                <c:pt idx="62">
                  <c:v>Danone Original Fresa 2x130g</c:v>
                </c:pt>
                <c:pt idx="63">
                  <c:v>Nestlé Nesquik 6x60g</c:v>
                </c:pt>
                <c:pt idx="64">
                  <c:v>Activia Piña 0% 4x120g</c:v>
                </c:pt>
                <c:pt idx="65">
                  <c:v>Danone Griego Manzana Canela 4x110g</c:v>
                </c:pt>
                <c:pt idx="66">
                  <c:v>Oikos Griego Caramelo 2x110g</c:v>
                </c:pt>
                <c:pt idx="67">
                  <c:v>Nestlé Kit Kat 2x115g</c:v>
                </c:pt>
                <c:pt idx="68">
                  <c:v>Carrefour Flan Huevo Proteico 2x160g</c:v>
                </c:pt>
                <c:pt idx="69">
                  <c:v>Alpro Arándanos/Fruitas Rojos 4x125g</c:v>
                </c:pt>
                <c:pt idx="70">
                  <c:v>La Fageda Natural 4x125g</c:v>
                </c:pt>
                <c:pt idx="71">
                  <c:v>Carrefour Pudding Chocolate 200g</c:v>
                </c:pt>
                <c:pt idx="72">
                  <c:v>Danone Original 2x130g</c:v>
                </c:pt>
                <c:pt idx="73">
                  <c:v>Activia Kefir Natural 345g</c:v>
                </c:pt>
                <c:pt idx="74">
                  <c:v>Danone Smartfood Vainilla 500ml</c:v>
                </c:pt>
                <c:pt idx="75">
                  <c:v>Activia Kefir Arándanos 320g</c:v>
                </c:pt>
                <c:pt idx="76">
                  <c:v>Nestlé Smarties 2x128g</c:v>
                </c:pt>
                <c:pt idx="77">
                  <c:v>Alpro Postre Chocolate Negro 4x125g</c:v>
                </c:pt>
                <c:pt idx="78">
                  <c:v>Carrefour Skyr Natural 150g</c:v>
                </c:pt>
                <c:pt idx="79">
                  <c:v>YoPro Natural 480g</c:v>
                </c:pt>
                <c:pt idx="80">
                  <c:v>YoPro Arándanos 4x120g</c:v>
                </c:pt>
                <c:pt idx="81">
                  <c:v>Carrefour Kefir Avena Nueces 4x125g</c:v>
                </c:pt>
                <c:pt idx="82">
                  <c:v>Kaiku Natural Sin Lactose 4x125g</c:v>
                </c:pt>
                <c:pt idx="83">
                  <c:v>Reina Mousse Chocolate 2x100g</c:v>
                </c:pt>
                <c:pt idx="84">
                  <c:v>La Fageda Natural Azucarado 4x125g</c:v>
                </c:pt>
                <c:pt idx="85">
                  <c:v>Nestlé Kefir 150g</c:v>
                </c:pt>
                <c:pt idx="86">
                  <c:v>Danone Choco Flakes 102g</c:v>
                </c:pt>
                <c:pt idx="87">
                  <c:v>Valio Profeel Chocolate 180g</c:v>
                </c:pt>
              </c:strCache>
            </c:strRef>
          </c:cat>
          <c:val>
            <c:numRef>
              <c:f>Sheet1!$B$2:$B$89</c:f>
              <c:numCache>
                <c:formatCode>General</c:formatCode>
                <c:ptCount val="88"/>
                <c:pt idx="0">
                  <c:v>0.08935637581110407</c:v>
                </c:pt>
                <c:pt idx="1">
                  <c:v>0.06999865224794899</c:v>
                </c:pt>
                <c:pt idx="2">
                  <c:v>0.06072371245279338</c:v>
                </c:pt>
                <c:pt idx="3">
                  <c:v>0.057410560115557105</c:v>
                </c:pt>
                <c:pt idx="4">
                  <c:v>0.04574697065111757</c:v>
                </c:pt>
                <c:pt idx="5">
                  <c:v>0.0366620454131293</c:v>
                </c:pt>
                <c:pt idx="6">
                  <c:v>0.032415686623539094</c:v>
                </c:pt>
                <c:pt idx="7">
                  <c:v>0.0323475063187256</c:v>
                </c:pt>
                <c:pt idx="8">
                  <c:v>0.030957339694856624</c:v>
                </c:pt>
                <c:pt idx="9">
                  <c:v>0.03000485502164683</c:v>
                </c:pt>
                <c:pt idx="10">
                  <c:v>0.023635174527021085</c:v>
                </c:pt>
                <c:pt idx="11">
                  <c:v>0.020857551687000986</c:v>
                </c:pt>
                <c:pt idx="12">
                  <c:v>0.018908693149102828</c:v>
                </c:pt>
                <c:pt idx="13">
                  <c:v>0.01688808168008215</c:v>
                </c:pt>
                <c:pt idx="14">
                  <c:v>0.01596089361982212</c:v>
                </c:pt>
                <c:pt idx="15">
                  <c:v>0.01534540103512591</c:v>
                </c:pt>
                <c:pt idx="16">
                  <c:v>0.015123873457125622</c:v>
                </c:pt>
                <c:pt idx="17">
                  <c:v>0.01477190911891143</c:v>
                </c:pt>
                <c:pt idx="18">
                  <c:v>0.013839669616016573</c:v>
                </c:pt>
                <c:pt idx="19">
                  <c:v>0.013034221332464653</c:v>
                </c:pt>
                <c:pt idx="20">
                  <c:v>0.012760961460585259</c:v>
                </c:pt>
                <c:pt idx="21">
                  <c:v>0.011391684707149234</c:v>
                </c:pt>
                <c:pt idx="22">
                  <c:v>0.011386065830027298</c:v>
                </c:pt>
                <c:pt idx="23">
                  <c:v>0.011287604858360565</c:v>
                </c:pt>
                <c:pt idx="24">
                  <c:v>0.010054099512328343</c:v>
                </c:pt>
                <c:pt idx="25">
                  <c:v>0.009890010610521256</c:v>
                </c:pt>
                <c:pt idx="26">
                  <c:v>0.009732441352523512</c:v>
                </c:pt>
                <c:pt idx="27">
                  <c:v>0.009633533860602124</c:v>
                </c:pt>
                <c:pt idx="28">
                  <c:v>0.009474093160794029</c:v>
                </c:pt>
                <c:pt idx="29">
                  <c:v>0.00845837972554549</c:v>
                </c:pt>
                <c:pt idx="30">
                  <c:v>0.00828699608067972</c:v>
                </c:pt>
                <c:pt idx="31">
                  <c:v>0.0077635465185272095</c:v>
                </c:pt>
                <c:pt idx="32">
                  <c:v>0.007320600527527702</c:v>
                </c:pt>
                <c:pt idx="33">
                  <c:v>0.007285491340404555</c:v>
                </c:pt>
                <c:pt idx="34">
                  <c:v>0.007260698788670913</c:v>
                </c:pt>
                <c:pt idx="35">
                  <c:v>0.007233943598508441</c:v>
                </c:pt>
                <c:pt idx="36">
                  <c:v>0.007166689571785976</c:v>
                </c:pt>
                <c:pt idx="37">
                  <c:v>0.0070974064213401205</c:v>
                </c:pt>
                <c:pt idx="38">
                  <c:v>0.0069719546913771585</c:v>
                </c:pt>
                <c:pt idx="39">
                  <c:v>0.006895867832755991</c:v>
                </c:pt>
                <c:pt idx="40">
                  <c:v>0.0068347560314545785</c:v>
                </c:pt>
                <c:pt idx="41">
                  <c:v>0.00656168304881916</c:v>
                </c:pt>
                <c:pt idx="42">
                  <c:v>0.006300289186179725</c:v>
                </c:pt>
                <c:pt idx="43">
                  <c:v>0.00620162617215923</c:v>
                </c:pt>
                <c:pt idx="44">
                  <c:v>0.006011834313527963</c:v>
                </c:pt>
                <c:pt idx="45">
                  <c:v>0.00598089958137619</c:v>
                </c:pt>
                <c:pt idx="46">
                  <c:v>0.005738763783989763</c:v>
                </c:pt>
                <c:pt idx="47">
                  <c:v>0.00571015660270659</c:v>
                </c:pt>
                <c:pt idx="48">
                  <c:v>0.00559470663960433</c:v>
                </c:pt>
                <c:pt idx="49">
                  <c:v>0.005287980799209178</c:v>
                </c:pt>
                <c:pt idx="50">
                  <c:v>0.005045784757204642</c:v>
                </c:pt>
                <c:pt idx="51">
                  <c:v>0.004724341671291683</c:v>
                </c:pt>
                <c:pt idx="52">
                  <c:v>0.004659107629774618</c:v>
                </c:pt>
                <c:pt idx="53">
                  <c:v>0.004556478371092938</c:v>
                </c:pt>
                <c:pt idx="54">
                  <c:v>0.004550817069573686</c:v>
                </c:pt>
                <c:pt idx="55">
                  <c:v>0.004371707406854236</c:v>
                </c:pt>
                <c:pt idx="56">
                  <c:v>0.004281815208464824</c:v>
                </c:pt>
                <c:pt idx="57">
                  <c:v>0.004161479790142651</c:v>
                </c:pt>
                <c:pt idx="58">
                  <c:v>0.004046801070374045</c:v>
                </c:pt>
                <c:pt idx="59">
                  <c:v>0.0037949766923454312</c:v>
                </c:pt>
                <c:pt idx="60">
                  <c:v>0.0037325225341048713</c:v>
                </c:pt>
                <c:pt idx="61">
                  <c:v>0.003704724931336198</c:v>
                </c:pt>
                <c:pt idx="62">
                  <c:v>0.003468697507188465</c:v>
                </c:pt>
                <c:pt idx="63">
                  <c:v>0.0033049316476442634</c:v>
                </c:pt>
                <c:pt idx="64">
                  <c:v>0.0032951267703131507</c:v>
                </c:pt>
                <c:pt idx="65">
                  <c:v>0.003277322943866873</c:v>
                </c:pt>
                <c:pt idx="66">
                  <c:v>0.0030687257493131875</c:v>
                </c:pt>
                <c:pt idx="67">
                  <c:v>0.0030247466876997587</c:v>
                </c:pt>
                <c:pt idx="68">
                  <c:v>0.0029838985742096894</c:v>
                </c:pt>
                <c:pt idx="69">
                  <c:v>0.002961593328617221</c:v>
                </c:pt>
                <c:pt idx="70">
                  <c:v>0.002698265612563575</c:v>
                </c:pt>
                <c:pt idx="71">
                  <c:v>0.002657133069937604</c:v>
                </c:pt>
                <c:pt idx="72">
                  <c:v>0.0024320921136725578</c:v>
                </c:pt>
                <c:pt idx="73">
                  <c:v>0.002363765006346921</c:v>
                </c:pt>
                <c:pt idx="74">
                  <c:v>0.0022373613374781554</c:v>
                </c:pt>
                <c:pt idx="75">
                  <c:v>0.0020804936519042867</c:v>
                </c:pt>
                <c:pt idx="76">
                  <c:v>0.0020536742675607254</c:v>
                </c:pt>
                <c:pt idx="77">
                  <c:v>0.0018322230991423178</c:v>
                </c:pt>
                <c:pt idx="78">
                  <c:v>0.0018063731245339116</c:v>
                </c:pt>
                <c:pt idx="79">
                  <c:v>0.001795354424404916</c:v>
                </c:pt>
                <c:pt idx="80">
                  <c:v>0.0015834018759973809</c:v>
                </c:pt>
                <c:pt idx="81">
                  <c:v>0.0014416074533804843</c:v>
                </c:pt>
                <c:pt idx="82">
                  <c:v>0.0013233982962376671</c:v>
                </c:pt>
                <c:pt idx="83">
                  <c:v>0.0012920079885508295</c:v>
                </c:pt>
                <c:pt idx="84">
                  <c:v>0.0010646910387163055</c:v>
                </c:pt>
                <c:pt idx="85">
                  <c:v>0.0009612350501894307</c:v>
                </c:pt>
                <c:pt idx="86">
                  <c:v>0.0009105642928492601</c:v>
                </c:pt>
                <c:pt idx="87">
                  <c:v>0.0008868177729884321</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Danonino Fresa 12x50g</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C00000"/>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r>
                      <a:rPr sz="500">
                        <a:solidFill>
                          <a:srgbClr val="C00000"/>
                        </a:solidFill>
                      </a:rPr>
                      <a:t>Danonino Fresa 12x5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9</c:f>
              <c:strCache>
                <c:ptCount val="88"/>
                <c:pt idx="0">
                  <c:v>Carrefour Natural 8x125g</c:v>
                </c:pt>
                <c:pt idx="1">
                  <c:v>Danone Fresa 4x120g</c:v>
                </c:pt>
                <c:pt idx="2">
                  <c:v>Carrefour Griego Natural 6x125g</c:v>
                </c:pt>
                <c:pt idx="3">
                  <c:v>Carrefour Sabores Mix 16x125g</c:v>
                </c:pt>
                <c:pt idx="4">
                  <c:v>Carrefour Griego Natural 1000g</c:v>
                </c:pt>
                <c:pt idx="5">
                  <c:v>Danone Natural 8x120g</c:v>
                </c:pt>
                <c:pt idx="6">
                  <c:v>Carrefour Griego Stracciatella 6x125g</c:v>
                </c:pt>
                <c:pt idx="7">
                  <c:v>Carrefour Griego Fresa 6x125g</c:v>
                </c:pt>
                <c:pt idx="8">
                  <c:v>Alpro Coco 400g</c:v>
                </c:pt>
                <c:pt idx="9">
                  <c:v>Carrefour L-Casei Fresa/Plátano y Piña/Coco 12x100g</c:v>
                </c:pt>
                <c:pt idx="10">
                  <c:v>Activia Natural 0% 8x120g</c:v>
                </c:pt>
                <c:pt idx="11">
                  <c:v>Actimel Fresa 6x100g</c:v>
                </c:pt>
                <c:pt idx="12">
                  <c:v>Carrefour Kefir 500g</c:v>
                </c:pt>
                <c:pt idx="13">
                  <c:v>Carrefour Fresa &amp; Plátano 8x125g</c:v>
                </c:pt>
                <c:pt idx="14">
                  <c:v>Carrefour Bifidus Fresa 0% 4x125g</c:v>
                </c:pt>
                <c:pt idx="15">
                  <c:v>Danone Mix Coco/Fresa/Frutos del Bosque/Macedoine 8x120g</c:v>
                </c:pt>
                <c:pt idx="16">
                  <c:v>Activia Natural 0% 16x120g</c:v>
                </c:pt>
                <c:pt idx="17">
                  <c:v>Activia Melocotón 0% 4x120g</c:v>
                </c:pt>
                <c:pt idx="18">
                  <c:v>Activia Natural 8x120g</c:v>
                </c:pt>
                <c:pt idx="19">
                  <c:v>Oikos Griego Natural 4x110g</c:v>
                </c:pt>
                <c:pt idx="20">
                  <c:v>Carrefour Natural 0% 6x125g</c:v>
                </c:pt>
                <c:pt idx="21">
                  <c:v>Vitalinea Fresa 0% 4x120g</c:v>
                </c:pt>
                <c:pt idx="22">
                  <c:v>Danone Griego Stracciatella 4x110g</c:v>
                </c:pt>
                <c:pt idx="23">
                  <c:v>Activia Cremoso Fresa 4x115g</c:v>
                </c:pt>
                <c:pt idx="24">
                  <c:v>Danone Proteína Stracciatella 4x105g</c:v>
                </c:pt>
                <c:pt idx="25">
                  <c:v>Danacol Limón 6x100g</c:v>
                </c:pt>
                <c:pt idx="26">
                  <c:v>Oikos Griego Fresa 4x110g</c:v>
                </c:pt>
                <c:pt idx="27">
                  <c:v>Activia Avena Nueces 4x115g</c:v>
                </c:pt>
                <c:pt idx="28">
                  <c:v>Danone Griego Natural 4x110g</c:v>
                </c:pt>
                <c:pt idx="29">
                  <c:v>La Lechera Fresa 2x125g</c:v>
                </c:pt>
                <c:pt idx="30">
                  <c:v>Carrefour Fresa 0% 6x125g</c:v>
                </c:pt>
                <c:pt idx="31">
                  <c:v>Activia Natural 0% 4x120g</c:v>
                </c:pt>
                <c:pt idx="32">
                  <c:v>Carrefour Bifidus Natural 0% 6x125g</c:v>
                </c:pt>
                <c:pt idx="33">
                  <c:v>Carrefour Proteína Plátano 400g</c:v>
                </c:pt>
                <c:pt idx="34">
                  <c:v>Carrefour Sabores Mix 12x125g</c:v>
                </c:pt>
                <c:pt idx="35">
                  <c:v>Danonino Fresa 4x100g</c:v>
                </c:pt>
                <c:pt idx="36">
                  <c:v>Actimel Natural 0% 6x100g</c:v>
                </c:pt>
                <c:pt idx="37">
                  <c:v>Carrefour Bifidus Muesli 0% 4x125g</c:v>
                </c:pt>
                <c:pt idx="38">
                  <c:v>YoPro Fresa 300g</c:v>
                </c:pt>
                <c:pt idx="39">
                  <c:v>Carrefour Bifidus Frutos Rojos 4x125g</c:v>
                </c:pt>
                <c:pt idx="40">
                  <c:v>Danonino Fresa 6x50g</c:v>
                </c:pt>
                <c:pt idx="41">
                  <c:v>Danacol Natural 6x100g</c:v>
                </c:pt>
                <c:pt idx="42">
                  <c:v>Carrefour Kefir Mango Líquido 500g</c:v>
                </c:pt>
                <c:pt idx="43">
                  <c:v>Activia Cremoso Lima/Limón 4x115g</c:v>
                </c:pt>
                <c:pt idx="44">
                  <c:v>Carrefour Natural Líquido 500g</c:v>
                </c:pt>
                <c:pt idx="45">
                  <c:v>Carrefour Petit Fresa y Plátano 12x60g</c:v>
                </c:pt>
                <c:pt idx="46">
                  <c:v>El Pastoret Melocotón y Maracuyá 500g</c:v>
                </c:pt>
                <c:pt idx="47">
                  <c:v>Carrefour Actuàlcol Tropical 8x100g</c:v>
                </c:pt>
                <c:pt idx="48">
                  <c:v>Carrefour L-Casei Fresa 0% 6x100g</c:v>
                </c:pt>
                <c:pt idx="49">
                  <c:v>El Pastoret Kefir Natural 500g</c:v>
                </c:pt>
                <c:pt idx="50">
                  <c:v>Danone Proteína Fresa 0% 270g</c:v>
                </c:pt>
                <c:pt idx="51">
                  <c:v>Alpro Skyr Fresa 400g</c:v>
                </c:pt>
                <c:pt idx="52">
                  <c:v>Actimel Natural 12x100g</c:v>
                </c:pt>
                <c:pt idx="53">
                  <c:v>Nestlé Kefir Natural 6x100g</c:v>
                </c:pt>
                <c:pt idx="54">
                  <c:v>Danonino Fresa 4x70g</c:v>
                </c:pt>
                <c:pt idx="55">
                  <c:v>Danone Proteína Chocolate 4x120g</c:v>
                </c:pt>
                <c:pt idx="56">
                  <c:v>Activia Muesli 0% 4x115g</c:v>
                </c:pt>
                <c:pt idx="57">
                  <c:v>Carrefour Kefir Natural 4x125g</c:v>
                </c:pt>
                <c:pt idx="58">
                  <c:v>Danacol Natural 12x100g</c:v>
                </c:pt>
                <c:pt idx="59">
                  <c:v>Carrefour Soja Natural 6x100g</c:v>
                </c:pt>
                <c:pt idx="60">
                  <c:v>YoPro Pudding Chocolate 180g</c:v>
                </c:pt>
                <c:pt idx="61">
                  <c:v>Oikos Griego Natural 900g</c:v>
                </c:pt>
                <c:pt idx="62">
                  <c:v>Danone Original Fresa 2x130g</c:v>
                </c:pt>
                <c:pt idx="63">
                  <c:v>Activia Piña 0% 4x120g</c:v>
                </c:pt>
                <c:pt idx="64">
                  <c:v>Nestlé Nesquik 6x60g</c:v>
                </c:pt>
                <c:pt idx="65">
                  <c:v>Danone Griego Manzana Canela 4x110g</c:v>
                </c:pt>
                <c:pt idx="66">
                  <c:v>Oikos Griego Caramelo 2x110g</c:v>
                </c:pt>
                <c:pt idx="67">
                  <c:v>Nestlé Kit Kat 2x115g</c:v>
                </c:pt>
                <c:pt idx="68">
                  <c:v>Carrefour Flan Huevo Proteico 2x160g</c:v>
                </c:pt>
                <c:pt idx="69">
                  <c:v>Alpro Arándanos/Fruitas Rojos 4x125g</c:v>
                </c:pt>
                <c:pt idx="70">
                  <c:v>La Fageda Natural 4x125g</c:v>
                </c:pt>
                <c:pt idx="71">
                  <c:v>Carrefour Pudding Chocolate 200g</c:v>
                </c:pt>
                <c:pt idx="72">
                  <c:v>Danone Original 2x130g</c:v>
                </c:pt>
                <c:pt idx="73">
                  <c:v>Activia Kefir Natural 345g</c:v>
                </c:pt>
                <c:pt idx="74">
                  <c:v>Activia Kefir Arándanos 320g</c:v>
                </c:pt>
                <c:pt idx="75">
                  <c:v>Nestlé Smarties 2x128g</c:v>
                </c:pt>
                <c:pt idx="76">
                  <c:v>Danonino Fresa 12x50g</c:v>
                </c:pt>
                <c:pt idx="77">
                  <c:v>Alpro Postre Chocolate Negro 4x125g</c:v>
                </c:pt>
                <c:pt idx="78">
                  <c:v>Carrefour Skyr Natural 150g</c:v>
                </c:pt>
                <c:pt idx="79">
                  <c:v>YoPro Natural 480g</c:v>
                </c:pt>
                <c:pt idx="80">
                  <c:v>YoPro Arándanos 4x120g</c:v>
                </c:pt>
                <c:pt idx="81">
                  <c:v>Carrefour Kefir Avena Nueces 4x125g</c:v>
                </c:pt>
                <c:pt idx="82">
                  <c:v>Kaiku Natural Sin Lactose 4x125g</c:v>
                </c:pt>
                <c:pt idx="83">
                  <c:v>Reina Mousse Chocolate 2x100g</c:v>
                </c:pt>
                <c:pt idx="84">
                  <c:v>La Fageda Natural Azucarado 4x125g</c:v>
                </c:pt>
                <c:pt idx="85">
                  <c:v>Nestlé Kefir 150g</c:v>
                </c:pt>
                <c:pt idx="86">
                  <c:v>Danone Choco Flakes 102g</c:v>
                </c:pt>
                <c:pt idx="87">
                  <c:v>Valio Profeel Chocolate 180g</c:v>
                </c:pt>
              </c:strCache>
            </c:strRef>
          </c:cat>
          <c:val>
            <c:numRef>
              <c:f>Sheet1!$B$2:$B$89</c:f>
              <c:numCache>
                <c:formatCode>General</c:formatCode>
                <c:ptCount val="88"/>
                <c:pt idx="0">
                  <c:v>0.08965411968311622</c:v>
                </c:pt>
                <c:pt idx="1">
                  <c:v>0.06999927100643237</c:v>
                </c:pt>
                <c:pt idx="2">
                  <c:v>0.06091298374837673</c:v>
                </c:pt>
                <c:pt idx="3">
                  <c:v>0.05719716415172152</c:v>
                </c:pt>
                <c:pt idx="4">
                  <c:v>0.045876681413924175</c:v>
                </c:pt>
                <c:pt idx="5">
                  <c:v>0.0367513605537368</c:v>
                </c:pt>
                <c:pt idx="6">
                  <c:v>0.03240744788992852</c:v>
                </c:pt>
                <c:pt idx="7">
                  <c:v>0.03230417173074649</c:v>
                </c:pt>
                <c:pt idx="8">
                  <c:v>0.031052676270964117</c:v>
                </c:pt>
                <c:pt idx="9">
                  <c:v>0.029850956635229364</c:v>
                </c:pt>
                <c:pt idx="10">
                  <c:v>0.023719180211282557</c:v>
                </c:pt>
                <c:pt idx="11">
                  <c:v>0.020755688797460235</c:v>
                </c:pt>
                <c:pt idx="12">
                  <c:v>0.0189800996405908</c:v>
                </c:pt>
                <c:pt idx="13">
                  <c:v>0.016814654433939275</c:v>
                </c:pt>
                <c:pt idx="14">
                  <c:v>0.015983903095265543</c:v>
                </c:pt>
                <c:pt idx="15">
                  <c:v>0.015333893092435467</c:v>
                </c:pt>
                <c:pt idx="16">
                  <c:v>0.015161365508611897</c:v>
                </c:pt>
                <c:pt idx="17">
                  <c:v>0.014792895063198136</c:v>
                </c:pt>
                <c:pt idx="18">
                  <c:v>0.013884115801524214</c:v>
                </c:pt>
                <c:pt idx="19">
                  <c:v>0.013074297936740007</c:v>
                </c:pt>
                <c:pt idx="20">
                  <c:v>0.012789639250958863</c:v>
                </c:pt>
                <c:pt idx="21">
                  <c:v>0.011387215212855338</c:v>
                </c:pt>
                <c:pt idx="22">
                  <c:v>0.011383461331290543</c:v>
                </c:pt>
                <c:pt idx="23">
                  <c:v>0.011306855477922413</c:v>
                </c:pt>
                <c:pt idx="24">
                  <c:v>0.010047006858185987</c:v>
                </c:pt>
                <c:pt idx="25">
                  <c:v>0.009891649196586411</c:v>
                </c:pt>
                <c:pt idx="26">
                  <c:v>0.00972099409207982</c:v>
                </c:pt>
                <c:pt idx="27">
                  <c:v>0.009661217498108495</c:v>
                </c:pt>
                <c:pt idx="28">
                  <c:v>0.00950043840312241</c:v>
                </c:pt>
                <c:pt idx="29">
                  <c:v>0.008429490436584301</c:v>
                </c:pt>
                <c:pt idx="30">
                  <c:v>0.008228268585257341</c:v>
                </c:pt>
                <c:pt idx="31">
                  <c:v>0.007775665681940398</c:v>
                </c:pt>
                <c:pt idx="32">
                  <c:v>0.007335972472071618</c:v>
                </c:pt>
                <c:pt idx="33">
                  <c:v>0.0072494645244438145</c:v>
                </c:pt>
                <c:pt idx="34">
                  <c:v>0.007223879794133616</c:v>
                </c:pt>
                <c:pt idx="35">
                  <c:v>0.007167897651326489</c:v>
                </c:pt>
                <c:pt idx="36">
                  <c:v>0.007146209951341425</c:v>
                </c:pt>
                <c:pt idx="37">
                  <c:v>0.007102315688674238</c:v>
                </c:pt>
                <c:pt idx="38">
                  <c:v>0.006978611151561955</c:v>
                </c:pt>
                <c:pt idx="39">
                  <c:v>0.006908867915135781</c:v>
                </c:pt>
                <c:pt idx="40">
                  <c:v>0.006726592559888071</c:v>
                </c:pt>
                <c:pt idx="41">
                  <c:v>0.0065795422353379885</c:v>
                </c:pt>
                <c:pt idx="42">
                  <c:v>0.006306190893452073</c:v>
                </c:pt>
                <c:pt idx="43">
                  <c:v>0.006213455741197638</c:v>
                </c:pt>
                <c:pt idx="44">
                  <c:v>0.0060307860657730725</c:v>
                </c:pt>
                <c:pt idx="45">
                  <c:v>0.0059547128772150714</c:v>
                </c:pt>
                <c:pt idx="46">
                  <c:v>0.005743808112422755</c:v>
                </c:pt>
                <c:pt idx="47">
                  <c:v>0.0057129141297305504</c:v>
                </c:pt>
                <c:pt idx="48">
                  <c:v>0.005569446928326479</c:v>
                </c:pt>
                <c:pt idx="49">
                  <c:v>0.005304212560923376</c:v>
                </c:pt>
                <c:pt idx="50">
                  <c:v>0.005044343177902268</c:v>
                </c:pt>
                <c:pt idx="51">
                  <c:v>0.004709759407250979</c:v>
                </c:pt>
                <c:pt idx="52">
                  <c:v>0.004647001438602386</c:v>
                </c:pt>
                <c:pt idx="53">
                  <c:v>0.004559196473191617</c:v>
                </c:pt>
                <c:pt idx="54">
                  <c:v>0.004510233563685778</c:v>
                </c:pt>
                <c:pt idx="55">
                  <c:v>0.004367935290096682</c:v>
                </c:pt>
                <c:pt idx="56">
                  <c:v>0.004291343896494334</c:v>
                </c:pt>
                <c:pt idx="57">
                  <c:v>0.00417203441918572</c:v>
                </c:pt>
                <c:pt idx="58">
                  <c:v>0.00405071098091133</c:v>
                </c:pt>
                <c:pt idx="59">
                  <c:v>0.0038054704839442137</c:v>
                </c:pt>
                <c:pt idx="60">
                  <c:v>0.003739475068469102</c:v>
                </c:pt>
                <c:pt idx="61">
                  <c:v>0.0037083825230490946</c:v>
                </c:pt>
                <c:pt idx="62">
                  <c:v>0.0034635078218815426</c:v>
                </c:pt>
                <c:pt idx="63">
                  <c:v>0.0033011435546416133</c:v>
                </c:pt>
                <c:pt idx="64">
                  <c:v>0.003286858493255217</c:v>
                </c:pt>
                <c:pt idx="65">
                  <c:v>0.003273368641805779</c:v>
                </c:pt>
                <c:pt idx="66">
                  <c:v>0.0030636143658779396</c:v>
                </c:pt>
                <c:pt idx="67">
                  <c:v>0.0029883508803724966</c:v>
                </c:pt>
                <c:pt idx="68">
                  <c:v>0.0029855908506800895</c:v>
                </c:pt>
                <c:pt idx="69">
                  <c:v>0.002960429490416583</c:v>
                </c:pt>
                <c:pt idx="70">
                  <c:v>0.0027079627995097322</c:v>
                </c:pt>
                <c:pt idx="71">
                  <c:v>0.0026592743512212523</c:v>
                </c:pt>
                <c:pt idx="72">
                  <c:v>0.002434570196478088</c:v>
                </c:pt>
                <c:pt idx="73">
                  <c:v>0.0023699690569297413</c:v>
                </c:pt>
                <c:pt idx="74">
                  <c:v>0.0020840230237971877</c:v>
                </c:pt>
                <c:pt idx="75">
                  <c:v>0.002046282100730954</c:v>
                </c:pt>
                <c:pt idx="76">
                  <c:v>0.0019761379017884206</c:v>
                </c:pt>
                <c:pt idx="77">
                  <c:v>0.0018272715371474145</c:v>
                </c:pt>
                <c:pt idx="78">
                  <c:v>0.001809266285749797</c:v>
                </c:pt>
                <c:pt idx="79">
                  <c:v>0.001800308049226655</c:v>
                </c:pt>
                <c:pt idx="80">
                  <c:v>0.0015872113442892415</c:v>
                </c:pt>
                <c:pt idx="81">
                  <c:v>0.0014408898567545066</c:v>
                </c:pt>
                <c:pt idx="82">
                  <c:v>0.0013228572788453567</c:v>
                </c:pt>
                <c:pt idx="83">
                  <c:v>0.0012933179941913469</c:v>
                </c:pt>
                <c:pt idx="84">
                  <c:v>0.0010682400454259122</c:v>
                </c:pt>
                <c:pt idx="85">
                  <c:v>0.0009609621788634851</c:v>
                </c:pt>
                <c:pt idx="86">
                  <c:v>0.0009107671327198614</c:v>
                </c:pt>
                <c:pt idx="87">
                  <c:v>0.000888228101543679</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Oikos Griego Natural 0% 90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C00000"/>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r>
                      <a:rPr sz="500">
                        <a:solidFill>
                          <a:srgbClr val="C00000"/>
                        </a:solidFill>
                      </a:rPr>
                      <a:t>Oikos Griego Natural 0% 90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9</c:f>
              <c:strCache>
                <c:ptCount val="88"/>
                <c:pt idx="0">
                  <c:v>Carrefour Natural 8x125g</c:v>
                </c:pt>
                <c:pt idx="1">
                  <c:v>Danone Fresa 4x120g</c:v>
                </c:pt>
                <c:pt idx="2">
                  <c:v>Carrefour Griego Natural 6x125g</c:v>
                </c:pt>
                <c:pt idx="3">
                  <c:v>Carrefour Sabores Mix 16x125g</c:v>
                </c:pt>
                <c:pt idx="4">
                  <c:v>Carrefour Griego Natural 1000g</c:v>
                </c:pt>
                <c:pt idx="5">
                  <c:v>Danone Natural 8x120g</c:v>
                </c:pt>
                <c:pt idx="6">
                  <c:v>Carrefour Griego Stracciatella 6x125g</c:v>
                </c:pt>
                <c:pt idx="7">
                  <c:v>Carrefour Griego Fresa 6x125g</c:v>
                </c:pt>
                <c:pt idx="8">
                  <c:v>Alpro Coco 400g</c:v>
                </c:pt>
                <c:pt idx="9">
                  <c:v>Carrefour L-Casei Fresa/Plátano y Piña/Coco 12x100g</c:v>
                </c:pt>
                <c:pt idx="10">
                  <c:v>Activia Natural 0% 8x120g</c:v>
                </c:pt>
                <c:pt idx="11">
                  <c:v>Actimel Fresa 6x100g</c:v>
                </c:pt>
                <c:pt idx="12">
                  <c:v>Carrefour Kefir 500g</c:v>
                </c:pt>
                <c:pt idx="13">
                  <c:v>Carrefour Fresa &amp; Plátano 8x125g</c:v>
                </c:pt>
                <c:pt idx="14">
                  <c:v>Carrefour Bifidus Fresa 0% 4x125g</c:v>
                </c:pt>
                <c:pt idx="15">
                  <c:v>Danone Mix Coco/Fresa/Frutos del Bosque/Macedoine 8x120g</c:v>
                </c:pt>
                <c:pt idx="16">
                  <c:v>Activia Natural 0% 16x120g</c:v>
                </c:pt>
                <c:pt idx="17">
                  <c:v>Activia Melocotón 0% 4x120g</c:v>
                </c:pt>
                <c:pt idx="18">
                  <c:v>Activia Natural 8x120g</c:v>
                </c:pt>
                <c:pt idx="19">
                  <c:v>Oikos Griego Natural 4x110g</c:v>
                </c:pt>
                <c:pt idx="20">
                  <c:v>Carrefour Natural 0% 6x125g</c:v>
                </c:pt>
                <c:pt idx="21">
                  <c:v>Vitalinea Fresa 0% 4x120g</c:v>
                </c:pt>
                <c:pt idx="22">
                  <c:v>Danone Griego Stracciatella 4x110g</c:v>
                </c:pt>
                <c:pt idx="23">
                  <c:v>Activia Cremoso Fresa 4x115g</c:v>
                </c:pt>
                <c:pt idx="24">
                  <c:v>Danone Proteína Stracciatella 4x105g</c:v>
                </c:pt>
                <c:pt idx="25">
                  <c:v>Danacol Limón 6x100g</c:v>
                </c:pt>
                <c:pt idx="26">
                  <c:v>Oikos Griego Fresa 4x110g</c:v>
                </c:pt>
                <c:pt idx="27">
                  <c:v>Activia Avena Nueces 4x115g</c:v>
                </c:pt>
                <c:pt idx="28">
                  <c:v>Danone Griego Natural 4x110g</c:v>
                </c:pt>
                <c:pt idx="29">
                  <c:v>La Lechera Fresa 2x125g</c:v>
                </c:pt>
                <c:pt idx="30">
                  <c:v>Carrefour Fresa 0% 6x125g</c:v>
                </c:pt>
                <c:pt idx="31">
                  <c:v>Activia Natural 0% 4x120g</c:v>
                </c:pt>
                <c:pt idx="32">
                  <c:v>Carrefour Bifidus Natural 0% 6x125g</c:v>
                </c:pt>
                <c:pt idx="33">
                  <c:v>Danonino Fresa 4x100g</c:v>
                </c:pt>
                <c:pt idx="34">
                  <c:v>Carrefour Sabores Mix 12x125g</c:v>
                </c:pt>
                <c:pt idx="35">
                  <c:v>Carrefour Proteína Plátano 400g</c:v>
                </c:pt>
                <c:pt idx="36">
                  <c:v>Actimel Natural 0% 6x100g</c:v>
                </c:pt>
                <c:pt idx="37">
                  <c:v>Carrefour Bifidus Muesli 0% 4x125g</c:v>
                </c:pt>
                <c:pt idx="38">
                  <c:v>YoPro Fresa 300g</c:v>
                </c:pt>
                <c:pt idx="39">
                  <c:v>Carrefour Bifidus Frutos Rojos 4x125g</c:v>
                </c:pt>
                <c:pt idx="40">
                  <c:v>Danonino Fresa 6x50g</c:v>
                </c:pt>
                <c:pt idx="41">
                  <c:v>Danacol Natural 6x100g</c:v>
                </c:pt>
                <c:pt idx="42">
                  <c:v>Carrefour Kefir Mango Líquido 500g</c:v>
                </c:pt>
                <c:pt idx="43">
                  <c:v>Activia Cremoso Lima/Limón 4x115g</c:v>
                </c:pt>
                <c:pt idx="44">
                  <c:v>Carrefour Natural Líquido 500g</c:v>
                </c:pt>
                <c:pt idx="45">
                  <c:v>Carrefour Petit Fresa y Plátano 12x60g</c:v>
                </c:pt>
                <c:pt idx="46">
                  <c:v>Carrefour Actuàlcol Tropical 8x100g</c:v>
                </c:pt>
                <c:pt idx="47">
                  <c:v>El Pastoret Melocotón y Maracuyá 500g</c:v>
                </c:pt>
                <c:pt idx="48">
                  <c:v>Carrefour L-Casei Fresa 0% 6x100g</c:v>
                </c:pt>
                <c:pt idx="49">
                  <c:v>El Pastoret Kefir Natural 500g</c:v>
                </c:pt>
                <c:pt idx="50">
                  <c:v>Danone Proteína Fresa 0% 270g</c:v>
                </c:pt>
                <c:pt idx="51">
                  <c:v>Alpro Skyr Fresa 400g</c:v>
                </c:pt>
                <c:pt idx="52">
                  <c:v>Actimel Natural 12x100g</c:v>
                </c:pt>
                <c:pt idx="53">
                  <c:v>Danonino Fresa 4x70g</c:v>
                </c:pt>
                <c:pt idx="54">
                  <c:v>Nestlé Kefir Natural 6x100g</c:v>
                </c:pt>
                <c:pt idx="55">
                  <c:v>Danone Proteína Chocolate 4x120g</c:v>
                </c:pt>
                <c:pt idx="56">
                  <c:v>Activia Muesli 0% 4x115g</c:v>
                </c:pt>
                <c:pt idx="57">
                  <c:v>Carrefour Kefir Natural 4x125g</c:v>
                </c:pt>
                <c:pt idx="58">
                  <c:v>Danacol Natural 12x100g</c:v>
                </c:pt>
                <c:pt idx="59">
                  <c:v>Carrefour Soja Natural 6x100g</c:v>
                </c:pt>
                <c:pt idx="60">
                  <c:v>YoPro Pudding Chocolate 180g</c:v>
                </c:pt>
                <c:pt idx="61">
                  <c:v>Oikos Griego Natural 900g</c:v>
                </c:pt>
                <c:pt idx="62">
                  <c:v>Danone Original Fresa 2x130g</c:v>
                </c:pt>
                <c:pt idx="63">
                  <c:v>Nestlé Nesquik 6x60g</c:v>
                </c:pt>
                <c:pt idx="64">
                  <c:v>Activia Piña 0% 4x120g</c:v>
                </c:pt>
                <c:pt idx="65">
                  <c:v>Danone Griego Manzana Canela 4x110g</c:v>
                </c:pt>
                <c:pt idx="66">
                  <c:v>Oikos Griego Caramelo 2x110g</c:v>
                </c:pt>
                <c:pt idx="67">
                  <c:v>Nestlé Kit Kat 2x115g</c:v>
                </c:pt>
                <c:pt idx="68">
                  <c:v>Oikos Griego Natural 0% 900g</c:v>
                </c:pt>
                <c:pt idx="69">
                  <c:v>Carrefour Flan Huevo Proteico 2x160g</c:v>
                </c:pt>
                <c:pt idx="70">
                  <c:v>Alpro Arándanos/Fruitas Rojos 4x125g</c:v>
                </c:pt>
                <c:pt idx="71">
                  <c:v>La Fageda Natural 4x125g</c:v>
                </c:pt>
                <c:pt idx="72">
                  <c:v>Carrefour Pudding Chocolate 200g</c:v>
                </c:pt>
                <c:pt idx="73">
                  <c:v>Danone Original 2x130g</c:v>
                </c:pt>
                <c:pt idx="74">
                  <c:v>Activia Kefir Natural 345g</c:v>
                </c:pt>
                <c:pt idx="75">
                  <c:v>Activia Kefir Arándanos 320g</c:v>
                </c:pt>
                <c:pt idx="76">
                  <c:v>Nestlé Smarties 2x128g</c:v>
                </c:pt>
                <c:pt idx="77">
                  <c:v>Alpro Postre Chocolate Negro 4x125g</c:v>
                </c:pt>
                <c:pt idx="78">
                  <c:v>Carrefour Skyr Natural 150g</c:v>
                </c:pt>
                <c:pt idx="79">
                  <c:v>YoPro Natural 480g</c:v>
                </c:pt>
                <c:pt idx="80">
                  <c:v>YoPro Arándanos 4x120g</c:v>
                </c:pt>
                <c:pt idx="81">
                  <c:v>Carrefour Kefir Avena Nueces 4x125g</c:v>
                </c:pt>
                <c:pt idx="82">
                  <c:v>Kaiku Natural Sin Lactose 4x125g</c:v>
                </c:pt>
                <c:pt idx="83">
                  <c:v>Reina Mousse Chocolate 2x100g</c:v>
                </c:pt>
                <c:pt idx="84">
                  <c:v>La Fageda Natural Azucarado 4x125g</c:v>
                </c:pt>
                <c:pt idx="85">
                  <c:v>Nestlé Kefir 150g</c:v>
                </c:pt>
                <c:pt idx="86">
                  <c:v>Danone Choco Flakes 102g</c:v>
                </c:pt>
                <c:pt idx="87">
                  <c:v>Valio Profeel Chocolate 180g</c:v>
                </c:pt>
              </c:strCache>
            </c:strRef>
          </c:cat>
          <c:val>
            <c:numRef>
              <c:f>Sheet1!$B$2:$B$89</c:f>
              <c:numCache>
                <c:formatCode>General</c:formatCode>
                <c:ptCount val="88"/>
                <c:pt idx="0">
                  <c:v>0.08939919139266286</c:v>
                </c:pt>
                <c:pt idx="1">
                  <c:v>0.07005190849965642</c:v>
                </c:pt>
                <c:pt idx="2">
                  <c:v>0.06071934678232767</c:v>
                </c:pt>
                <c:pt idx="3">
                  <c:v>0.05746615630812106</c:v>
                </c:pt>
                <c:pt idx="4">
                  <c:v>0.04530203284792641</c:v>
                </c:pt>
                <c:pt idx="5">
                  <c:v>0.036636256349448344</c:v>
                </c:pt>
                <c:pt idx="6">
                  <c:v>0.03244277409509725</c:v>
                </c:pt>
                <c:pt idx="7">
                  <c:v>0.03238141411349549</c:v>
                </c:pt>
                <c:pt idx="8">
                  <c:v>0.030885425737734243</c:v>
                </c:pt>
                <c:pt idx="9">
                  <c:v>0.029999957133207127</c:v>
                </c:pt>
                <c:pt idx="10">
                  <c:v>0.023643238222503835</c:v>
                </c:pt>
                <c:pt idx="11">
                  <c:v>0.02086811796216506</c:v>
                </c:pt>
                <c:pt idx="12">
                  <c:v>0.01889619642924386</c:v>
                </c:pt>
                <c:pt idx="13">
                  <c:v>0.016904239043701048</c:v>
                </c:pt>
                <c:pt idx="14">
                  <c:v>0.015982221015114817</c:v>
                </c:pt>
                <c:pt idx="15">
                  <c:v>0.015355040091363964</c:v>
                </c:pt>
                <c:pt idx="16">
                  <c:v>0.015122365778538767</c:v>
                </c:pt>
                <c:pt idx="17">
                  <c:v>0.01478761350840812</c:v>
                </c:pt>
                <c:pt idx="18">
                  <c:v>0.013847047759780661</c:v>
                </c:pt>
                <c:pt idx="19">
                  <c:v>0.012910720268931683</c:v>
                </c:pt>
                <c:pt idx="20">
                  <c:v>0.012770305433095234</c:v>
                </c:pt>
                <c:pt idx="21">
                  <c:v>0.011407193215902963</c:v>
                </c:pt>
                <c:pt idx="22">
                  <c:v>0.011392907981664533</c:v>
                </c:pt>
                <c:pt idx="23">
                  <c:v>0.011287812007798577</c:v>
                </c:pt>
                <c:pt idx="24">
                  <c:v>0.010047404085410473</c:v>
                </c:pt>
                <c:pt idx="25">
                  <c:v>0.009899275125588148</c:v>
                </c:pt>
                <c:pt idx="26">
                  <c:v>0.00965919858906879</c:v>
                </c:pt>
                <c:pt idx="27">
                  <c:v>0.009628435610576531</c:v>
                </c:pt>
                <c:pt idx="28">
                  <c:v>0.009467970069877934</c:v>
                </c:pt>
                <c:pt idx="29">
                  <c:v>0.008448754623594503</c:v>
                </c:pt>
                <c:pt idx="30">
                  <c:v>0.008296489850794753</c:v>
                </c:pt>
                <c:pt idx="31">
                  <c:v>0.007760815312325483</c:v>
                </c:pt>
                <c:pt idx="32">
                  <c:v>0.007328398348744706</c:v>
                </c:pt>
                <c:pt idx="33">
                  <c:v>0.0072648617601994234</c:v>
                </c:pt>
                <c:pt idx="34">
                  <c:v>0.007264609838359459</c:v>
                </c:pt>
                <c:pt idx="35">
                  <c:v>0.007223371145651438</c:v>
                </c:pt>
                <c:pt idx="36">
                  <c:v>0.0071656935393208596</c:v>
                </c:pt>
                <c:pt idx="37">
                  <c:v>0.007106066515258861</c:v>
                </c:pt>
                <c:pt idx="38">
                  <c:v>0.006969503670895287</c:v>
                </c:pt>
                <c:pt idx="39">
                  <c:v>0.006903598575180597</c:v>
                </c:pt>
                <c:pt idx="40">
                  <c:v>0.006829593388126642</c:v>
                </c:pt>
                <c:pt idx="41">
                  <c:v>0.00657004867383977</c:v>
                </c:pt>
                <c:pt idx="42">
                  <c:v>0.006291807063691654</c:v>
                </c:pt>
                <c:pt idx="43">
                  <c:v>0.006207160665860791</c:v>
                </c:pt>
                <c:pt idx="44">
                  <c:v>0.006012731566503561</c:v>
                </c:pt>
                <c:pt idx="45">
                  <c:v>0.005985287668701725</c:v>
                </c:pt>
                <c:pt idx="46">
                  <c:v>0.005716315189529425</c:v>
                </c:pt>
                <c:pt idx="47">
                  <c:v>0.005701463224513168</c:v>
                </c:pt>
                <c:pt idx="48">
                  <c:v>0.005596022464356291</c:v>
                </c:pt>
                <c:pt idx="49">
                  <c:v>0.005220683000581436</c:v>
                </c:pt>
                <c:pt idx="50">
                  <c:v>0.005049469101629412</c:v>
                </c:pt>
                <c:pt idx="51">
                  <c:v>0.004698656223671595</c:v>
                </c:pt>
                <c:pt idx="52">
                  <c:v>0.004656238755221102</c:v>
                </c:pt>
                <c:pt idx="53">
                  <c:v>0.004551737304905659</c:v>
                </c:pt>
                <c:pt idx="54">
                  <c:v>0.004534121475991546</c:v>
                </c:pt>
                <c:pt idx="55">
                  <c:v>0.004373264908610324</c:v>
                </c:pt>
                <c:pt idx="56">
                  <c:v>0.004279123127374711</c:v>
                </c:pt>
                <c:pt idx="57">
                  <c:v>0.004148641593833889</c:v>
                </c:pt>
                <c:pt idx="58">
                  <c:v>0.004049943241019734</c:v>
                </c:pt>
                <c:pt idx="59">
                  <c:v>0.0038000801026424513</c:v>
                </c:pt>
                <c:pt idx="60">
                  <c:v>0.003734032722888376</c:v>
                </c:pt>
                <c:pt idx="61">
                  <c:v>0.0035835962803560718</c:v>
                </c:pt>
                <c:pt idx="62">
                  <c:v>0.0034613271188200013</c:v>
                </c:pt>
                <c:pt idx="63">
                  <c:v>0.0033006645746540826</c:v>
                </c:pt>
                <c:pt idx="64">
                  <c:v>0.003297105845233821</c:v>
                </c:pt>
                <c:pt idx="65">
                  <c:v>0.003278448804316992</c:v>
                </c:pt>
                <c:pt idx="66">
                  <c:v>0.003060482631293419</c:v>
                </c:pt>
                <c:pt idx="67">
                  <c:v>0.0030259309215788966</c:v>
                </c:pt>
                <c:pt idx="68">
                  <c:v>0.0030007927146221526</c:v>
                </c:pt>
                <c:pt idx="69">
                  <c:v>0.0029867981155737924</c:v>
                </c:pt>
                <c:pt idx="70">
                  <c:v>0.0029550389779859835</c:v>
                </c:pt>
                <c:pt idx="71">
                  <c:v>0.002694277464548405</c:v>
                </c:pt>
                <c:pt idx="72">
                  <c:v>0.0026564298006498907</c:v>
                </c:pt>
                <c:pt idx="73">
                  <c:v>0.002426042654676363</c:v>
                </c:pt>
                <c:pt idx="74">
                  <c:v>0.0023584894469666023</c:v>
                </c:pt>
                <c:pt idx="75">
                  <c:v>0.0020798094692358435</c:v>
                </c:pt>
                <c:pt idx="76">
                  <c:v>0.0020535911028089766</c:v>
                </c:pt>
                <c:pt idx="77">
                  <c:v>0.0018302423888764002</c:v>
                </c:pt>
                <c:pt idx="78">
                  <c:v>0.0018054775175034119</c:v>
                </c:pt>
                <c:pt idx="79">
                  <c:v>0.0017895005089559695</c:v>
                </c:pt>
                <c:pt idx="80">
                  <c:v>0.0015803184601115526</c:v>
                </c:pt>
                <c:pt idx="81">
                  <c:v>0.0014394216292596277</c:v>
                </c:pt>
                <c:pt idx="82">
                  <c:v>0.0013231240612293829</c:v>
                </c:pt>
                <c:pt idx="83">
                  <c:v>0.0012912912663421107</c:v>
                </c:pt>
                <c:pt idx="84">
                  <c:v>0.0010638221552756524</c:v>
                </c:pt>
                <c:pt idx="85">
                  <c:v>0.0009603338442355506</c:v>
                </c:pt>
                <c:pt idx="86">
                  <c:v>0.0009097904814131957</c:v>
                </c:pt>
                <c:pt idx="87">
                  <c:v>0.0008875016612452103</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031574-19AE-4EFF-8E5D-910302784672}" type="datetimeFigureOut">
              <a:rPr lang="en-CH" smtClean="0"/>
              <a:t>07/30/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E13843-85DD-499F-B752-681F6384D798}" type="slidenum">
              <a:rPr lang="en-CH" smtClean="0"/>
              <a:t>‹#›</a:t>
            </a:fld>
            <a:endParaRPr lang="en-CH"/>
          </a:p>
        </p:txBody>
      </p:sp>
    </p:spTree>
    <p:extLst>
      <p:ext uri="{BB962C8B-B14F-4D97-AF65-F5344CB8AC3E}">
        <p14:creationId xmlns:p14="http://schemas.microsoft.com/office/powerpoint/2010/main" val="3716441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1</a:t>
            </a:fld>
            <a:endParaRPr lang="en-US"/>
          </a:p>
        </p:txBody>
      </p:sp>
    </p:spTree>
    <p:extLst>
      <p:ext uri="{BB962C8B-B14F-4D97-AF65-F5344CB8AC3E}">
        <p14:creationId xmlns:p14="http://schemas.microsoft.com/office/powerpoint/2010/main" val="26140249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29512570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1110852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74427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3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5450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3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34433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3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13007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3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779768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3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937019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3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094348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7/3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801013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30/0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98493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3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5628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30/0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725938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30/0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34819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30/0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6652119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41526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3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6476737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7/3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19939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205657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8016042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1784698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7/3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81203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7/3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236203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265349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30/2025</a:t>
            </a:fld>
            <a:endParaRPr lang="en-US"/>
          </a:p>
        </p:txBody>
      </p:sp>
    </p:spTree>
    <p:extLst>
      <p:ext uri="{BB962C8B-B14F-4D97-AF65-F5344CB8AC3E}">
        <p14:creationId xmlns:p14="http://schemas.microsoft.com/office/powerpoint/2010/main" val="3895789664"/>
      </p:ext>
    </p:extLst>
  </p:cSld>
  <p:clrMap bg1="lt1" tx1="dk1" bg2="lt2" tx2="dk2" accent1="accent1" accent2="accent2" accent3="accent3" accent4="accent4" accent5="accent5" accent6="accent6" hlink="hlink" folHlink="folHlink"/>
  <p:sldLayoutIdLst>
    <p:sldLayoutId id="2147483845"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904" r:id="rId23"/>
    <p:sldLayoutId id="214748390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4.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xml"/><Relationship Id="rId6" Type="http://schemas.openxmlformats.org/officeDocument/2006/relationships/chart" Target="../charts/chart21.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xml"/><Relationship Id="rId6" Type="http://schemas.openxmlformats.org/officeDocument/2006/relationships/chart" Target="../charts/chart25.xml"/><Relationship Id="rId7" Type="http://schemas.openxmlformats.org/officeDocument/2006/relationships/chart" Target="../charts/chart26.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xml"/><Relationship Id="rId6"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7.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8.xml"/><Relationship Id="rId6" Type="http://schemas.openxmlformats.org/officeDocument/2006/relationships/chart" Target="../charts/chart29.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0.xml"/><Relationship Id="rId6" Type="http://schemas.openxmlformats.org/officeDocument/2006/relationships/chart" Target="../charts/chart31.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xml"/><Relationship Id="rId6" Type="http://schemas.openxmlformats.org/officeDocument/2006/relationships/chart" Target="../charts/chart6.xml"/><Relationship Id="rId7" Type="http://schemas.openxmlformats.org/officeDocument/2006/relationships/chart" Target="../charts/chart7.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xml"/><Relationship Id="rId6" Type="http://schemas.openxmlformats.org/officeDocument/2006/relationships/chart" Target="../charts/chart10.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xml"/><Relationship Id="rId6" Type="http://schemas.openxmlformats.org/officeDocument/2006/relationships/chart" Target="../charts/chart12.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rPr lang="en-GB" dirty="0"/>
              <a:t>Summary </a:t>
            </a:r>
            <a:r>
              <a:rPr lang="en-US" dirty="0"/>
              <a:t>| </a:t>
            </a:r>
            <a:r>
              <a:rPr lang="en-GB" dirty="0"/>
              <a:t>Innovations </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7/30/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1</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1114418469"/>
              </p:ext>
            </p:extLst>
          </p:nvPr>
        </p:nvGraphicFramePr>
        <p:xfrm>
          <a:off x="503238" y="1131888"/>
          <a:ext cx="8136762" cy="3600865"/>
        </p:xfrm>
        <a:graphic>
          <a:graphicData uri="http://schemas.openxmlformats.org/drawingml/2006/table">
            <a:tbl>
              <a:tblPr/>
              <a:tblGrid>
                <a:gridCol w="1264782">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427591">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528879">
                <a:tc>
                  <a:txBody>
                    <a:bodyPr/>
                    <a:lstStyle/>
                    <a:p>
                      <a:pPr algn="ctr">
                        <a:defRPr sz="800">
                          <a:latin typeface="Nexa"/>
                        </a:defRPr>
                      </a:pPr>
                      <a:r>
                        <a:t>Danone Griego 900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dirty="0">
                          <a:solidFill>
                            <a:srgbClr val="575555"/>
                          </a:solidFill>
                          <a:effectLst/>
                          <a:latin typeface="Nexa" panose="00000500000000000000" pitchFamily="2" charset="0"/>
                        </a:rPr>
                        <a:t>7.49 </a:t>
                      </a:r>
                      <a:r>
                        <a:rPr lang="en-US" sz="800" b="0" i="0" u="none" strike="noStrike" dirty="0" err="1">
                          <a:solidFill>
                            <a:srgbClr val="575555"/>
                          </a:solidFill>
                          <a:effectLst/>
                          <a:latin typeface="Nexa" panose="00000500000000000000" pitchFamily="2" charset="0"/>
                        </a:rPr>
                        <a:t>zł</a:t>
                      </a: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a:defRPr sz="800">
                          <a:latin typeface="Nexa"/>
                        </a:defRPr>
                      </a:pPr>
                      <a: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8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800" b="0" i="0" u="none" strike="noStrike">
                          <a:solidFill>
                            <a:srgbClr val="575555"/>
                          </a:solidFill>
                          <a:effectLst/>
                          <a:latin typeface="Nexa" panose="00000500000000000000" pitchFamily="2" charset="0"/>
                        </a:rPr>
                        <a:t>103</a:t>
                      </a: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lang="en-CH" sz="800" b="0" i="0" u="none" strike="noStrike" kern="1200" dirty="0">
                        <a:solidFill>
                          <a:srgbClr val="575555"/>
                        </a:solidFill>
                        <a:effectLst/>
                        <a:latin typeface="Nexa" panose="00000500000000000000" pitchFamily="2" charset="0"/>
                        <a:ea typeface="+mn-ea"/>
                        <a:cs typeface="+mn-cs"/>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57600388"/>
                  </a:ext>
                </a:extLst>
              </a:tr>
              <a:tr h="528879">
                <a:tc>
                  <a:txBody>
                    <a:bodyPr/>
                    <a:lstStyle/>
                    <a:p>
                      <a:pPr algn="ctr">
                        <a:defRPr sz="800">
                          <a:latin typeface="Nexa"/>
                        </a:defRPr>
                      </a:pPr>
                      <a:r>
                        <a:t>Danone Skyr Natural 4x100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a:defRPr sz="800">
                          <a:latin typeface="Nexa"/>
                        </a:defRPr>
                      </a:pPr>
                      <a:r>
                        <a:t>4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8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077166297"/>
                  </a:ext>
                </a:extLst>
              </a:tr>
              <a:tr h="528879">
                <a:tc>
                  <a:txBody>
                    <a:bodyPr/>
                    <a:lstStyle/>
                    <a:p>
                      <a:pPr algn="ctr">
                        <a:defRPr sz="800">
                          <a:latin typeface="Nexa"/>
                        </a:defRPr>
                      </a:pPr>
                      <a:r>
                        <a:t>Danone Smartfood Vainilla 50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dirty="0">
                          <a:solidFill>
                            <a:srgbClr val="575555"/>
                          </a:solidFill>
                          <a:effectLst/>
                          <a:latin typeface="Nexa" panose="00000500000000000000" pitchFamily="2" charset="0"/>
                        </a:rPr>
                        <a:t>7.49 </a:t>
                      </a:r>
                      <a:r>
                        <a:rPr lang="en-US" sz="800" b="0" i="0" u="none" strike="noStrike" dirty="0" err="1">
                          <a:solidFill>
                            <a:srgbClr val="575555"/>
                          </a:solidFill>
                          <a:effectLst/>
                          <a:latin typeface="Nexa" panose="00000500000000000000" pitchFamily="2" charset="0"/>
                        </a:rPr>
                        <a:t>zł</a:t>
                      </a: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a:defRPr sz="800">
                          <a:latin typeface="Nexa"/>
                        </a:defRPr>
                      </a:pPr>
                      <a:r>
                        <a:t>4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8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62406029"/>
                  </a:ext>
                </a:extLst>
              </a:tr>
              <a:tr h="528879">
                <a:tc>
                  <a:txBody>
                    <a:bodyPr/>
                    <a:lstStyle/>
                    <a:p>
                      <a:pPr algn="ctr">
                        <a:defRPr sz="800">
                          <a:latin typeface="Nexa"/>
                        </a:defRPr>
                      </a:pPr>
                      <a:r>
                        <a:t>Oikos Griego Natural 0% 900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a:defRPr>
                      </a:pPr>
                      <a:r>
                        <a:t>4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8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528879">
                <a:tc>
                  <a:txBody>
                    <a:bodyPr/>
                    <a:lstStyle/>
                    <a:p>
                      <a:pPr algn="ctr">
                        <a:defRPr sz="800">
                          <a:latin typeface="Nexa"/>
                        </a:defRPr>
                      </a:pPr>
                      <a:r>
                        <a:t>Oikos Griego Natural 500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a:defRPr>
                      </a:pPr>
                      <a:r>
                        <a:t>3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8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528879">
                <a:tc>
                  <a:txBody>
                    <a:bodyPr/>
                    <a:lstStyle/>
                    <a:p>
                      <a:pPr algn="ctr">
                        <a:defRPr sz="800">
                          <a:latin typeface="Nexa"/>
                        </a:defRPr>
                      </a:pPr>
                      <a:r>
                        <a:t>Activia Kefir 60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dirty="0">
                          <a:solidFill>
                            <a:srgbClr val="575555"/>
                          </a:solidFill>
                          <a:effectLst/>
                          <a:latin typeface="Nexa" panose="00000500000000000000" pitchFamily="2" charset="0"/>
                        </a:rPr>
                        <a:t>9.49 </a:t>
                      </a:r>
                      <a:r>
                        <a:rPr lang="en-US" sz="800" b="0" i="0" u="none" strike="noStrike" dirty="0" err="1">
                          <a:solidFill>
                            <a:srgbClr val="575555"/>
                          </a:solidFill>
                          <a:effectLst/>
                          <a:latin typeface="Nexa" panose="00000500000000000000" pitchFamily="2" charset="0"/>
                        </a:rPr>
                        <a:t>zł</a:t>
                      </a: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a:defRPr>
                      </a:pPr>
                      <a: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8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t>DATA SOURCE: Consumer Test | April 2025</a:t>
            </a:r>
          </a:p>
        </p:txBody>
      </p:sp>
    </p:spTree>
    <p:extLst>
      <p:ext uri="{BB962C8B-B14F-4D97-AF65-F5344CB8AC3E}">
        <p14:creationId xmlns:p14="http://schemas.microsoft.com/office/powerpoint/2010/main" val="17404707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30/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April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Carrefour | Oikos</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096521214"/>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Sector Avg</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3507339">
                  <a:extLst>
                    <a:ext uri="{9D8B030D-6E8A-4147-A177-3AD203B41FA5}">
                      <a16:colId xmlns:a16="http://schemas.microsoft.com/office/drawing/2014/main" val="4292788590"/>
                    </a:ext>
                  </a:extLst>
                </a:gridCol>
                <a:gridCol w="3507339">
                  <a:extLst>
                    <a:ext uri="{9D8B030D-6E8A-4147-A177-3AD203B41FA5}">
                      <a16:colId xmlns:a16="http://schemas.microsoft.com/office/drawing/2014/main" val="401539003"/>
                    </a:ext>
                  </a:extLst>
                </a:gridCol>
              </a:tblGrid>
              <a:tr h="320040">
                <a:tc>
                  <a:txBody>
                    <a:bodyPr/>
                    <a:lstStyle/>
                    <a:p>
                      <a:pPr>
                        <a:defRPr>
                          <a:latin typeface="Nexa Bold"/>
                        </a:defRPr>
                      </a:pPr>
                      <a:r>
                        <a:rPr sz="800" b="0"/>
                        <a:t>Cannibalization within </a:t>
                      </a:r>
                    </a:p>
                    <a:p>
                      <a:pPr>
                        <a:defRPr>
                          <a:latin typeface="Nexa Bold"/>
                        </a:defRPr>
                      </a:pPr>
                      <a:r>
                        <a:rPr sz="800" b="0"/>
                        <a:t>Danone Group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Danone Group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Danone Group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6390212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30/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April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Carrefour | Activia</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096521214"/>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Sector Avg</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3507339">
                  <a:extLst>
                    <a:ext uri="{9D8B030D-6E8A-4147-A177-3AD203B41FA5}">
                      <a16:colId xmlns:a16="http://schemas.microsoft.com/office/drawing/2014/main" val="4292788590"/>
                    </a:ext>
                  </a:extLst>
                </a:gridCol>
                <a:gridCol w="3507339">
                  <a:extLst>
                    <a:ext uri="{9D8B030D-6E8A-4147-A177-3AD203B41FA5}">
                      <a16:colId xmlns:a16="http://schemas.microsoft.com/office/drawing/2014/main" val="401539003"/>
                    </a:ext>
                  </a:extLst>
                </a:gridCol>
              </a:tblGrid>
              <a:tr h="320040">
                <a:tc>
                  <a:txBody>
                    <a:bodyPr/>
                    <a:lstStyle/>
                    <a:p>
                      <a:pPr>
                        <a:defRPr>
                          <a:latin typeface="Nexa Bold"/>
                        </a:defRPr>
                      </a:pPr>
                      <a:r>
                        <a:rPr sz="800" b="0"/>
                        <a:t>Cannibalization within </a:t>
                      </a:r>
                    </a:p>
                    <a:p>
                      <a:pPr>
                        <a:defRPr>
                          <a:latin typeface="Nexa Bold"/>
                        </a:defRPr>
                      </a:pPr>
                      <a:r>
                        <a:rPr sz="800" b="0"/>
                        <a:t>Danone Group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6%</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68%</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Danone Group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Danone Group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3702911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30/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April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Carrefour | Danacol</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096521214"/>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Sector Avg</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7014678">
                  <a:extLst>
                    <a:ext uri="{9D8B030D-6E8A-4147-A177-3AD203B41FA5}">
                      <a16:colId xmlns:a16="http://schemas.microsoft.com/office/drawing/2014/main" val="4292788590"/>
                    </a:ext>
                  </a:extLst>
                </a:gridCol>
              </a:tblGrid>
              <a:tr h="320040">
                <a:tc>
                  <a:txBody>
                    <a:bodyPr/>
                    <a:lstStyle/>
                    <a:p>
                      <a:pPr>
                        <a:defRPr>
                          <a:latin typeface="Nexa Bold"/>
                        </a:defRPr>
                      </a:pPr>
                      <a:r>
                        <a:rPr sz="800" b="0"/>
                        <a:t>Cannibalization within </a:t>
                      </a:r>
                    </a:p>
                    <a:p>
                      <a:pPr>
                        <a:defRPr>
                          <a:latin typeface="Nexa Bold"/>
                        </a:defRPr>
                      </a:pPr>
                      <a:r>
                        <a:rPr sz="800" b="0"/>
                        <a:t>Danone Group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65%</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Danone Group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Danone Group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0144070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30/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April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Carrefour | Yopro</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096521214"/>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Sector Avg</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3507339">
                  <a:extLst>
                    <a:ext uri="{9D8B030D-6E8A-4147-A177-3AD203B41FA5}">
                      <a16:colId xmlns:a16="http://schemas.microsoft.com/office/drawing/2014/main" val="4292788590"/>
                    </a:ext>
                  </a:extLst>
                </a:gridCol>
                <a:gridCol w="3507339">
                  <a:extLst>
                    <a:ext uri="{9D8B030D-6E8A-4147-A177-3AD203B41FA5}">
                      <a16:colId xmlns:a16="http://schemas.microsoft.com/office/drawing/2014/main" val="401539003"/>
                    </a:ext>
                  </a:extLst>
                </a:gridCol>
              </a:tblGrid>
              <a:tr h="320040">
                <a:tc>
                  <a:txBody>
                    <a:bodyPr/>
                    <a:lstStyle/>
                    <a:p>
                      <a:pPr>
                        <a:defRPr>
                          <a:latin typeface="Nexa Bold"/>
                        </a:defRPr>
                      </a:pPr>
                      <a:r>
                        <a:rPr sz="800" b="0"/>
                        <a:t>Cannibalization within </a:t>
                      </a:r>
                    </a:p>
                    <a:p>
                      <a:pPr>
                        <a:defRPr>
                          <a:latin typeface="Nexa Bold"/>
                        </a:defRPr>
                      </a:pPr>
                      <a:r>
                        <a:rPr sz="800" b="0"/>
                        <a:t>Danone Group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5%</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Danone Group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Danone Group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9512970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30/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April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Carrefour | Danonino</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096521214"/>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Sector Avg</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7014678">
                  <a:extLst>
                    <a:ext uri="{9D8B030D-6E8A-4147-A177-3AD203B41FA5}">
                      <a16:colId xmlns:a16="http://schemas.microsoft.com/office/drawing/2014/main" val="4292788590"/>
                    </a:ext>
                  </a:extLst>
                </a:gridCol>
              </a:tblGrid>
              <a:tr h="320040">
                <a:tc>
                  <a:txBody>
                    <a:bodyPr/>
                    <a:lstStyle/>
                    <a:p>
                      <a:pPr>
                        <a:defRPr>
                          <a:latin typeface="Nexa Bold"/>
                        </a:defRPr>
                      </a:pPr>
                      <a:r>
                        <a:rPr sz="800" b="0"/>
                        <a:t>Cannibalization within </a:t>
                      </a:r>
                    </a:p>
                    <a:p>
                      <a:pPr>
                        <a:defRPr>
                          <a:latin typeface="Nexa Bold"/>
                        </a:defRPr>
                      </a:pPr>
                      <a:r>
                        <a:rPr sz="800" b="0"/>
                        <a:t>Danone Group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3%</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Danone Group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Danone Group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9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9307992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30/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April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Carrefour | Alpro</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096521214"/>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Sector Avg</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7014678">
                  <a:extLst>
                    <a:ext uri="{9D8B030D-6E8A-4147-A177-3AD203B41FA5}">
                      <a16:colId xmlns:a16="http://schemas.microsoft.com/office/drawing/2014/main" val="4292788590"/>
                    </a:ext>
                  </a:extLst>
                </a:gridCol>
              </a:tblGrid>
              <a:tr h="320040">
                <a:tc>
                  <a:txBody>
                    <a:bodyPr/>
                    <a:lstStyle/>
                    <a:p>
                      <a:pPr>
                        <a:defRPr>
                          <a:latin typeface="Nexa Bold"/>
                        </a:defRPr>
                      </a:pPr>
                      <a:r>
                        <a:rPr sz="800" b="0"/>
                        <a:t>Cannibalization within </a:t>
                      </a:r>
                    </a:p>
                    <a:p>
                      <a:pPr>
                        <a:defRPr>
                          <a:latin typeface="Nexa Bold"/>
                        </a:defRPr>
                      </a:pPr>
                      <a:r>
                        <a:rPr sz="800" b="0"/>
                        <a:t>Danone Group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4%</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Danone Group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Danone Group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1320650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0/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r>
              <a:t>DATA SOURCE: Consumer Test | April 2025</a:t>
            </a:r>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 Sourcing Analysis | Rescaled Delta Share by Product | Carrefour | Activia</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277331545"/>
              </p:ext>
            </p:extLst>
          </p:nvPr>
        </p:nvGraphicFramePr>
        <p:xfrm>
          <a:off x="520200" y="1122363"/>
          <a:ext cx="6845570" cy="3625385"/>
        </p:xfrm>
        <a:graphic>
          <a:graphicData uri="http://schemas.openxmlformats.org/drawingml/2006/table">
            <a:tbl>
              <a:tblPr firstRow="1" bandRow="1">
                <a:tableStyleId>{5C22544A-7EE6-4342-B048-85BDC9FD1C3A}</a:tableStyleId>
              </a:tblPr>
              <a:tblGrid>
                <a:gridCol w="2462624">
                  <a:extLst>
                    <a:ext uri="{9D8B030D-6E8A-4147-A177-3AD203B41FA5}">
                      <a16:colId xmlns:a16="http://schemas.microsoft.com/office/drawing/2014/main" val="721526330"/>
                    </a:ext>
                  </a:extLst>
                </a:gridCol>
                <a:gridCol w="2191473">
                  <a:extLst>
                    <a:ext uri="{9D8B030D-6E8A-4147-A177-3AD203B41FA5}">
                      <a16:colId xmlns:a16="http://schemas.microsoft.com/office/drawing/2014/main" val="1048155142"/>
                    </a:ext>
                  </a:extLst>
                </a:gridCol>
                <a:gridCol w="2191473">
                  <a:extLst>
                    <a:ext uri="{9D8B030D-6E8A-4147-A177-3AD203B41FA5}">
                      <a16:colId xmlns:a16="http://schemas.microsoft.com/office/drawing/2014/main" val="2226225783"/>
                    </a:ext>
                  </a:extLst>
                </a:gridCol>
              </a:tblGrid>
              <a:tr h="443118">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Activia Kefir 60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Activia Kefir 4x12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9297">
                <a:tc>
                  <a:txBody>
                    <a:bodyPr/>
                    <a:lstStyle/>
                    <a:p>
                      <a:pPr algn="l">
                        <a:defRPr>
                          <a:latin typeface="Nexa Book"/>
                        </a:defRPr>
                      </a:pPr>
                      <a:r>
                        <a:rPr sz="700" b="0"/>
                        <a:t>Activia Natural 0% 16x120g</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9297">
                <a:tc>
                  <a:txBody>
                    <a:bodyPr/>
                    <a:lstStyle/>
                    <a:p>
                      <a:pPr algn="l">
                        <a:defRPr>
                          <a:latin typeface="Nexa Book"/>
                        </a:defRPr>
                      </a:pPr>
                      <a:r>
                        <a:rPr sz="700" b="0"/>
                        <a:t>Activia Natural 8x120g</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9297">
                <a:tc>
                  <a:txBody>
                    <a:bodyPr/>
                    <a:lstStyle/>
                    <a:p>
                      <a:pPr algn="l">
                        <a:defRPr>
                          <a:latin typeface="Nexa Book"/>
                        </a:defRPr>
                      </a:pPr>
                      <a:r>
                        <a:rPr sz="700" b="0"/>
                        <a:t>Activia Natural 0% 8x120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9297">
                <a:tc>
                  <a:txBody>
                    <a:bodyPr/>
                    <a:lstStyle/>
                    <a:p>
                      <a:pPr algn="l">
                        <a:defRPr>
                          <a:latin typeface="Nexa Book"/>
                        </a:defRPr>
                      </a:pPr>
                      <a:r>
                        <a:rPr sz="700" b="0"/>
                        <a:t>Activia Natural 0% 4x120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9297">
                <a:tc>
                  <a:txBody>
                    <a:bodyPr/>
                    <a:lstStyle/>
                    <a:p>
                      <a:pPr algn="l">
                        <a:defRPr>
                          <a:latin typeface="Nexa Book"/>
                        </a:defRPr>
                      </a:pPr>
                      <a:r>
                        <a:rPr sz="700" b="0"/>
                        <a:t>Nestlé Kefir Natural 6x100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9297">
                <a:tc>
                  <a:txBody>
                    <a:bodyPr/>
                    <a:lstStyle/>
                    <a:p>
                      <a:pPr algn="l">
                        <a:defRPr>
                          <a:latin typeface="Nexa Book"/>
                        </a:defRPr>
                      </a:pPr>
                      <a:r>
                        <a:rPr sz="700" b="0"/>
                        <a:t>Carrefour Griego Natural 1000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9297">
                <a:tc>
                  <a:txBody>
                    <a:bodyPr/>
                    <a:lstStyle/>
                    <a:p>
                      <a:pPr algn="l">
                        <a:defRPr>
                          <a:latin typeface="Nexa Book"/>
                        </a:defRPr>
                      </a:pPr>
                      <a:r>
                        <a:rPr sz="700" b="0"/>
                        <a:t>Danacol Limón 6x100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9297">
                <a:tc>
                  <a:txBody>
                    <a:bodyPr/>
                    <a:lstStyle/>
                    <a:p>
                      <a:pPr algn="l">
                        <a:defRPr>
                          <a:latin typeface="Nexa Book"/>
                        </a:defRPr>
                      </a:pPr>
                      <a:r>
                        <a:rPr sz="700" b="0"/>
                        <a:t>Activia Avena Nueces 4x115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9297">
                <a:tc>
                  <a:txBody>
                    <a:bodyPr/>
                    <a:lstStyle/>
                    <a:p>
                      <a:pPr algn="l">
                        <a:defRPr>
                          <a:latin typeface="Nexa Book"/>
                        </a:defRPr>
                      </a:pPr>
                      <a:r>
                        <a:rPr sz="700" b="0"/>
                        <a:t>Carrefour Griego Natural 6x125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9297">
                <a:tc>
                  <a:txBody>
                    <a:bodyPr/>
                    <a:lstStyle/>
                    <a:p>
                      <a:pPr algn="l">
                        <a:defRPr>
                          <a:latin typeface="Nexa Book"/>
                        </a:defRPr>
                      </a:pPr>
                      <a:r>
                        <a:rPr sz="700" b="0"/>
                        <a:t>Oikos Griego Natural 4x110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9297">
                <a:tc>
                  <a:txBody>
                    <a:bodyPr/>
                    <a:lstStyle/>
                    <a:p>
                      <a:pPr algn="l">
                        <a:defRPr>
                          <a:latin typeface="Nexa Book"/>
                        </a:defRPr>
                      </a:pPr>
                      <a:r>
                        <a:rPr sz="700" b="0"/>
                        <a:t>Activia Melocotón 0% 4x120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2755917524"/>
              </p:ext>
            </p:extLst>
          </p:nvPr>
        </p:nvGraphicFramePr>
        <p:xfrm>
          <a:off x="2991173" y="1571347"/>
          <a:ext cx="2197734" cy="314904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1811345744"/>
              </p:ext>
            </p:extLst>
          </p:nvPr>
        </p:nvGraphicFramePr>
        <p:xfrm>
          <a:off x="5188907" y="1569997"/>
          <a:ext cx="2188972" cy="3162342"/>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8168134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0/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r>
              <a:t>DATA SOURCE: Consumer Test | April 2025</a:t>
            </a:r>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 Sourcing Analysis | Rescaled Delta Share by Product | Carrefour | Alpro</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929013559"/>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Alpro Meal to Go Chocolate 50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algn="l">
                        <a:defRPr>
                          <a:latin typeface="Nexa Book"/>
                        </a:defRPr>
                      </a:pPr>
                      <a:r>
                        <a:rPr sz="700" b="0"/>
                        <a:t>Carrefour Natural 8x125g</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algn="l">
                        <a:defRPr>
                          <a:latin typeface="Nexa Book"/>
                        </a:defRPr>
                      </a:pPr>
                      <a:r>
                        <a:rPr sz="700" b="0"/>
                        <a:t>Danone Fresa 4x120g</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algn="l">
                        <a:defRPr>
                          <a:latin typeface="Nexa Book"/>
                        </a:defRPr>
                      </a:pPr>
                      <a:r>
                        <a:rPr sz="700" b="0"/>
                        <a:t>Carrefour Griego Natural 6x125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algn="l">
                        <a:defRPr>
                          <a:latin typeface="Nexa Book"/>
                        </a:defRPr>
                      </a:pPr>
                      <a:r>
                        <a:rPr sz="700" b="0"/>
                        <a:t>Carrefour Sabores Mix 16x125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algn="l">
                        <a:defRPr>
                          <a:latin typeface="Nexa Book"/>
                        </a:defRPr>
                      </a:pPr>
                      <a:r>
                        <a:rPr sz="700" b="0"/>
                        <a:t>Carrefour Griego Natural 1000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algn="l">
                        <a:defRPr>
                          <a:latin typeface="Nexa Book"/>
                        </a:defRPr>
                      </a:pPr>
                      <a:r>
                        <a:rPr sz="700" b="0"/>
                        <a:t>Alpro Coco 400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algn="l">
                        <a:defRPr>
                          <a:latin typeface="Nexa Book"/>
                        </a:defRPr>
                      </a:pPr>
                      <a:r>
                        <a:rPr sz="700" b="0"/>
                        <a:t>Danone Natural 8x120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algn="l">
                        <a:defRPr>
                          <a:latin typeface="Nexa Book"/>
                        </a:defRPr>
                      </a:pPr>
                      <a:r>
                        <a:rPr sz="700" b="0"/>
                        <a:t>Carrefour L-Casei Fresa/Plátano y Piña/Coco 12x100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algn="l">
                        <a:defRPr>
                          <a:latin typeface="Nexa Book"/>
                        </a:defRPr>
                      </a:pPr>
                      <a:r>
                        <a:rPr sz="700" b="0"/>
                        <a:t>Carrefour Griego Stracciatella 6x125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algn="l">
                        <a:defRPr>
                          <a:latin typeface="Nexa Book"/>
                        </a:defRPr>
                      </a:pPr>
                      <a:r>
                        <a:rPr sz="700" b="0"/>
                        <a:t>Carrefour Griego Fresa 6x125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algn="l">
                        <a:defRPr>
                          <a:latin typeface="Nexa Book"/>
                        </a:defRPr>
                      </a:pPr>
                      <a:r>
                        <a:rPr sz="700" b="0"/>
                        <a:t>Actimel Fresa 6x100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1121909895"/>
              </p:ext>
            </p:extLst>
          </p:nvPr>
        </p:nvGraphicFramePr>
        <p:xfrm>
          <a:off x="3160011" y="1491890"/>
          <a:ext cx="2171406" cy="32925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622496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0/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r>
              <a:t>DATA SOURCE: Consumer Test | April 2025</a:t>
            </a:r>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 Sourcing Analysis | Rescaled Delta Share by Product | Carrefour | Danacol</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929013559"/>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Danacol Nueces y Avena 0% 4x115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algn="l">
                        <a:defRPr>
                          <a:latin typeface="Nexa Book"/>
                        </a:defRPr>
                      </a:pPr>
                      <a:r>
                        <a:rPr sz="700" b="0"/>
                        <a:t>Danacol Limón 6x100g</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algn="l">
                        <a:defRPr>
                          <a:latin typeface="Nexa Book"/>
                        </a:defRPr>
                      </a:pPr>
                      <a:r>
                        <a:rPr sz="700" b="0"/>
                        <a:t>Alpro Coco 400g</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algn="l">
                        <a:defRPr>
                          <a:latin typeface="Nexa Book"/>
                        </a:defRPr>
                      </a:pPr>
                      <a:r>
                        <a:rPr sz="700" b="0"/>
                        <a:t>Activia Avena Nueces 4x115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algn="l">
                        <a:defRPr>
                          <a:latin typeface="Nexa Book"/>
                        </a:defRPr>
                      </a:pPr>
                      <a:r>
                        <a:rPr sz="700" b="0"/>
                        <a:t>Danacol Natural 6x100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algn="l">
                        <a:defRPr>
                          <a:latin typeface="Nexa Book"/>
                        </a:defRPr>
                      </a:pPr>
                      <a:r>
                        <a:rPr sz="700" b="0"/>
                        <a:t>Activia Melocotón 0% 4x120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algn="l">
                        <a:defRPr>
                          <a:latin typeface="Nexa Book"/>
                        </a:defRPr>
                      </a:pPr>
                      <a:r>
                        <a:rPr sz="700" b="0"/>
                        <a:t>Activia Natural 0% 8x120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algn="l">
                        <a:defRPr>
                          <a:latin typeface="Nexa Book"/>
                        </a:defRPr>
                      </a:pPr>
                      <a:r>
                        <a:rPr sz="700" b="0"/>
                        <a:t>Actimel Fresa 6x100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algn="l">
                        <a:defRPr>
                          <a:latin typeface="Nexa Book"/>
                        </a:defRPr>
                      </a:pPr>
                      <a:r>
                        <a:rPr sz="700" b="0"/>
                        <a:t>Activia Natural 8x120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algn="l">
                        <a:defRPr>
                          <a:latin typeface="Nexa Book"/>
                        </a:defRPr>
                      </a:pPr>
                      <a:r>
                        <a:rPr sz="700" b="0"/>
                        <a:t>Activia Natural 0% 16x120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algn="l">
                        <a:defRPr>
                          <a:latin typeface="Nexa Book"/>
                        </a:defRPr>
                      </a:pPr>
                      <a:r>
                        <a:rPr sz="700" b="0"/>
                        <a:t>Danone Fresa 4x120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algn="l">
                        <a:defRPr>
                          <a:latin typeface="Nexa Book"/>
                        </a:defRPr>
                      </a:pPr>
                      <a:r>
                        <a:rPr sz="700" b="0"/>
                        <a:t>Danone Natural 8x120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1121909895"/>
              </p:ext>
            </p:extLst>
          </p:nvPr>
        </p:nvGraphicFramePr>
        <p:xfrm>
          <a:off x="3160011" y="1491890"/>
          <a:ext cx="2171406" cy="32925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463410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0/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r>
              <a:t>DATA SOURCE: Consumer Test | April 2025</a:t>
            </a:r>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 Sourcing Analysis | Rescaled Delta Share by Product | Carrefour | Danon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819005917"/>
              </p:ext>
            </p:extLst>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Danone Griego 90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Danone Skyr Natural 4x10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Danone Smartfood Vainilla 50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Carrefour Griego Natural 1000g</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Carrefour Griego Natural 6x125g</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Carrefour Natural 8x125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Alpro Coco 400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Danone Natural 8x120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Danone Fresa 4x120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Carrefour Griego Stracciatella 6x125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Carrefour Sabores Mix 16x125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Carrefour L-Casei Fresa/Plátano y Piña/Coco 12x100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Carrefour Kefir 500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Carrefour Proteína Plátano 400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94976975"/>
              </p:ext>
            </p:extLst>
          </p:nvPr>
        </p:nvGraphicFramePr>
        <p:xfrm>
          <a:off x="2586496" y="1567727"/>
          <a:ext cx="1850081" cy="316461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2680079235"/>
              </p:ext>
            </p:extLst>
          </p:nvPr>
        </p:nvGraphicFramePr>
        <p:xfrm>
          <a:off x="4437874" y="1593692"/>
          <a:ext cx="1854124" cy="314708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589978662"/>
              </p:ext>
            </p:extLst>
          </p:nvPr>
        </p:nvGraphicFramePr>
        <p:xfrm>
          <a:off x="6278779" y="1596830"/>
          <a:ext cx="1850081" cy="314302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114943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2D4330-F24E-B54A-A80B-45C843E545E2}"/>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71F61A1-D46B-60DE-CDA2-6DA9FA69F59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31558EF-F323-693A-C837-37B2F27F4C5C}"/>
              </a:ext>
            </a:extLst>
          </p:cNvPr>
          <p:cNvGraphicFramePr>
            <a:graphicFrameLocks/>
          </p:cNvGraphicFramePr>
          <p:nvPr/>
        </p:nvGraphicFramePr>
        <p:xfrm>
          <a:off x="2613976" y="1131888"/>
          <a:ext cx="5670000" cy="17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E9855EE0-200A-9C46-92E1-CC5F97071499}"/>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0/2025</a:t>
            </a:fld>
            <a:endParaRPr lang="en-US" noProof="0"/>
          </a:p>
        </p:txBody>
      </p:sp>
      <p:sp>
        <p:nvSpPr>
          <p:cNvPr id="4" name="Footer Placeholder 3">
            <a:extLst>
              <a:ext uri="{FF2B5EF4-FFF2-40B4-BE49-F238E27FC236}">
                <a16:creationId xmlns:a16="http://schemas.microsoft.com/office/drawing/2014/main" id="{3548A4EA-EBAC-DF1A-81BC-B5EEB2AA6B5D}"/>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08D280CC-5963-F773-F795-60AD1DF39C1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10" name="Content Placeholder 9">
            <a:extLst>
              <a:ext uri="{FF2B5EF4-FFF2-40B4-BE49-F238E27FC236}">
                <a16:creationId xmlns:a16="http://schemas.microsoft.com/office/drawing/2014/main" id="{9C31B5AE-EC5D-4FF6-FA9A-ED02100F81A9}"/>
              </a:ext>
            </a:extLst>
          </p:cNvPr>
          <p:cNvSpPr>
            <a:spLocks noGrp="1"/>
          </p:cNvSpPr>
          <p:nvPr>
            <p:ph type="body" sz="quarter" idx="17"/>
          </p:nvPr>
        </p:nvSpPr>
        <p:spPr>
          <a:xfrm>
            <a:off x="0" y="4734106"/>
            <a:ext cx="4572000" cy="222878"/>
          </a:xfrm>
        </p:spPr>
        <p:txBody>
          <a:bodyPr/>
          <a:lstStyle/>
          <a:p>
            <a:r>
              <a:t>DATA SOURCE: Consumer Test | April 2025</a:t>
            </a:r>
          </a:p>
        </p:txBody>
      </p:sp>
      <p:sp>
        <p:nvSpPr>
          <p:cNvPr id="5" name="Text Placeholder 4">
            <a:extLst>
              <a:ext uri="{FF2B5EF4-FFF2-40B4-BE49-F238E27FC236}">
                <a16:creationId xmlns:a16="http://schemas.microsoft.com/office/drawing/2014/main" id="{82AA7EDB-0442-1D93-B85E-6D0899153B56}"/>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Carrefour | Activia</a:t>
            </a:r>
          </a:p>
        </p:txBody>
      </p:sp>
      <p:sp>
        <p:nvSpPr>
          <p:cNvPr id="8" name="Title 7">
            <a:extLst>
              <a:ext uri="{FF2B5EF4-FFF2-40B4-BE49-F238E27FC236}">
                <a16:creationId xmlns:a16="http://schemas.microsoft.com/office/drawing/2014/main" id="{0C5AE0D8-6E7C-6DEB-E156-931C334E316B}"/>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0D641A0F-8381-A31E-C499-811BC0EA2A05}"/>
              </a:ext>
            </a:extLst>
          </p:cNvPr>
          <p:cNvGraphicFramePr>
            <a:graphicFrameLocks/>
          </p:cNvGraphicFramePr>
          <p:nvPr/>
        </p:nvGraphicFramePr>
        <p:xfrm>
          <a:off x="2613976" y="2964741"/>
          <a:ext cx="5670000" cy="1764000"/>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E8972F00-7BB9-669E-1FF7-8F871A327FB7}"/>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BB31FB27-0FC4-6247-CFB0-92101147EE74}"/>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28708201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0/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r>
              <a:t>DATA SOURCE: Consumer Test | April 2025</a:t>
            </a:r>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 Sourcing Analysis | Rescaled Delta Share by Product | Carrefour | Danonino</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929013559"/>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Danonino Fresa 12x5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algn="l">
                        <a:defRPr>
                          <a:latin typeface="Nexa Book"/>
                        </a:defRPr>
                      </a:pPr>
                      <a:r>
                        <a:rPr sz="700" b="0"/>
                        <a:t>Carrefour Sabores Mix 16x125g</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algn="l">
                        <a:defRPr>
                          <a:latin typeface="Nexa Book"/>
                        </a:defRPr>
                      </a:pPr>
                      <a:r>
                        <a:rPr sz="700" b="0"/>
                        <a:t>Carrefour L-Casei Fresa/Plátano y Piña/Coco 12x100g</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algn="l">
                        <a:defRPr>
                          <a:latin typeface="Nexa Book"/>
                        </a:defRPr>
                      </a:pPr>
                      <a:r>
                        <a:rPr sz="700" b="0"/>
                        <a:t>Actimel Fresa 6x100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algn="l">
                        <a:defRPr>
                          <a:latin typeface="Nexa Book"/>
                        </a:defRPr>
                      </a:pPr>
                      <a:r>
                        <a:rPr sz="700" b="0"/>
                        <a:t>Danonino Fresa 4x100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algn="l">
                        <a:defRPr>
                          <a:latin typeface="Nexa Book"/>
                        </a:defRPr>
                      </a:pPr>
                      <a:r>
                        <a:rPr sz="700" b="0"/>
                        <a:t>Danone Fresa 4x120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algn="l">
                        <a:defRPr>
                          <a:latin typeface="Nexa Book"/>
                        </a:defRPr>
                      </a:pPr>
                      <a:r>
                        <a:rPr sz="700" b="0"/>
                        <a:t>Danonino Fresa 6x50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algn="l">
                        <a:defRPr>
                          <a:latin typeface="Nexa Book"/>
                        </a:defRPr>
                      </a:pPr>
                      <a:r>
                        <a:rPr sz="700" b="0"/>
                        <a:t>Carrefour Fresa &amp; Plátano 8x125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algn="l">
                        <a:defRPr>
                          <a:latin typeface="Nexa Book"/>
                        </a:defRPr>
                      </a:pPr>
                      <a:r>
                        <a:rPr sz="700" b="0"/>
                        <a:t>Carrefour Griego Fresa 6x125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algn="l">
                        <a:defRPr>
                          <a:latin typeface="Nexa Book"/>
                        </a:defRPr>
                      </a:pPr>
                      <a:r>
                        <a:rPr sz="700" b="0"/>
                        <a:t>Carrefour Fresa 0% 6x125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algn="l">
                        <a:defRPr>
                          <a:latin typeface="Nexa Book"/>
                        </a:defRPr>
                      </a:pPr>
                      <a:r>
                        <a:rPr sz="700" b="0"/>
                        <a:t>Carrefour Griego Stracciatella 6x125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algn="l">
                        <a:defRPr>
                          <a:latin typeface="Nexa Book"/>
                        </a:defRPr>
                      </a:pPr>
                      <a:r>
                        <a:rPr sz="700" b="0"/>
                        <a:t>Carrefour Sabores Mix 12x125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1121909895"/>
              </p:ext>
            </p:extLst>
          </p:nvPr>
        </p:nvGraphicFramePr>
        <p:xfrm>
          <a:off x="3160011" y="1491890"/>
          <a:ext cx="2171406" cy="32925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163862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0/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r>
              <a:t>DATA SOURCE: Consumer Test | April 2025</a:t>
            </a:r>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 Sourcing Analysis | Rescaled Delta Share by Product | Carrefour | Oikos</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277331545"/>
              </p:ext>
            </p:extLst>
          </p:nvPr>
        </p:nvGraphicFramePr>
        <p:xfrm>
          <a:off x="520200" y="1122363"/>
          <a:ext cx="6845570" cy="3625385"/>
        </p:xfrm>
        <a:graphic>
          <a:graphicData uri="http://schemas.openxmlformats.org/drawingml/2006/table">
            <a:tbl>
              <a:tblPr firstRow="1" bandRow="1">
                <a:tableStyleId>{5C22544A-7EE6-4342-B048-85BDC9FD1C3A}</a:tableStyleId>
              </a:tblPr>
              <a:tblGrid>
                <a:gridCol w="2462624">
                  <a:extLst>
                    <a:ext uri="{9D8B030D-6E8A-4147-A177-3AD203B41FA5}">
                      <a16:colId xmlns:a16="http://schemas.microsoft.com/office/drawing/2014/main" val="721526330"/>
                    </a:ext>
                  </a:extLst>
                </a:gridCol>
                <a:gridCol w="2191473">
                  <a:extLst>
                    <a:ext uri="{9D8B030D-6E8A-4147-A177-3AD203B41FA5}">
                      <a16:colId xmlns:a16="http://schemas.microsoft.com/office/drawing/2014/main" val="1048155142"/>
                    </a:ext>
                  </a:extLst>
                </a:gridCol>
                <a:gridCol w="2191473">
                  <a:extLst>
                    <a:ext uri="{9D8B030D-6E8A-4147-A177-3AD203B41FA5}">
                      <a16:colId xmlns:a16="http://schemas.microsoft.com/office/drawing/2014/main" val="2226225783"/>
                    </a:ext>
                  </a:extLst>
                </a:gridCol>
              </a:tblGrid>
              <a:tr h="443118">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Oikos Griego Natural 0% 90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Oikos Griego Natural 50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9297">
                <a:tc>
                  <a:txBody>
                    <a:bodyPr/>
                    <a:lstStyle/>
                    <a:p>
                      <a:pPr algn="l">
                        <a:defRPr>
                          <a:latin typeface="Nexa Book"/>
                        </a:defRPr>
                      </a:pPr>
                      <a:r>
                        <a:rPr sz="700" b="0"/>
                        <a:t>Carrefour Griego Natural 1000g</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9297">
                <a:tc>
                  <a:txBody>
                    <a:bodyPr/>
                    <a:lstStyle/>
                    <a:p>
                      <a:pPr algn="l">
                        <a:defRPr>
                          <a:latin typeface="Nexa Book"/>
                        </a:defRPr>
                      </a:pPr>
                      <a:r>
                        <a:rPr sz="700" b="0"/>
                        <a:t>Carrefour Griego Natural 6x125g</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9297">
                <a:tc>
                  <a:txBody>
                    <a:bodyPr/>
                    <a:lstStyle/>
                    <a:p>
                      <a:pPr algn="l">
                        <a:defRPr>
                          <a:latin typeface="Nexa Book"/>
                        </a:defRPr>
                      </a:pPr>
                      <a:r>
                        <a:rPr sz="700" b="0"/>
                        <a:t>Oikos Griego Natural 4x110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9297">
                <a:tc>
                  <a:txBody>
                    <a:bodyPr/>
                    <a:lstStyle/>
                    <a:p>
                      <a:pPr algn="l">
                        <a:defRPr>
                          <a:latin typeface="Nexa Book"/>
                        </a:defRPr>
                      </a:pPr>
                      <a:r>
                        <a:rPr sz="700" b="0"/>
                        <a:t>Carrefour Natural 8x125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9297">
                <a:tc>
                  <a:txBody>
                    <a:bodyPr/>
                    <a:lstStyle/>
                    <a:p>
                      <a:pPr algn="l">
                        <a:defRPr>
                          <a:latin typeface="Nexa Book"/>
                        </a:defRPr>
                      </a:pPr>
                      <a:r>
                        <a:rPr sz="700" b="0"/>
                        <a:t>Alpro Coco 400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9297">
                <a:tc>
                  <a:txBody>
                    <a:bodyPr/>
                    <a:lstStyle/>
                    <a:p>
                      <a:pPr algn="l">
                        <a:defRPr>
                          <a:latin typeface="Nexa Book"/>
                        </a:defRPr>
                      </a:pPr>
                      <a:r>
                        <a:rPr sz="700" b="0"/>
                        <a:t>Oikos Griego Natural 900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9297">
                <a:tc>
                  <a:txBody>
                    <a:bodyPr/>
                    <a:lstStyle/>
                    <a:p>
                      <a:pPr algn="l">
                        <a:defRPr>
                          <a:latin typeface="Nexa Book"/>
                        </a:defRPr>
                      </a:pPr>
                      <a:r>
                        <a:rPr sz="700" b="0"/>
                        <a:t>Danone Natural 8x120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9297">
                <a:tc>
                  <a:txBody>
                    <a:bodyPr/>
                    <a:lstStyle/>
                    <a:p>
                      <a:pPr algn="l">
                        <a:defRPr>
                          <a:latin typeface="Nexa Book"/>
                        </a:defRPr>
                      </a:pPr>
                      <a:r>
                        <a:rPr sz="700" b="0"/>
                        <a:t>Oikos Griego Fresa 4x110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9297">
                <a:tc>
                  <a:txBody>
                    <a:bodyPr/>
                    <a:lstStyle/>
                    <a:p>
                      <a:pPr algn="l">
                        <a:defRPr>
                          <a:latin typeface="Nexa Book"/>
                        </a:defRPr>
                      </a:pPr>
                      <a:r>
                        <a:rPr sz="700" b="0"/>
                        <a:t>El Pastoret Kefir Natural 500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9297">
                <a:tc>
                  <a:txBody>
                    <a:bodyPr/>
                    <a:lstStyle/>
                    <a:p>
                      <a:pPr algn="l">
                        <a:defRPr>
                          <a:latin typeface="Nexa Book"/>
                        </a:defRPr>
                      </a:pPr>
                      <a:r>
                        <a:rPr sz="700" b="0"/>
                        <a:t>Danone Fresa 4x120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9297">
                <a:tc>
                  <a:txBody>
                    <a:bodyPr/>
                    <a:lstStyle/>
                    <a:p>
                      <a:pPr algn="l">
                        <a:defRPr>
                          <a:latin typeface="Nexa Book"/>
                        </a:defRPr>
                      </a:pPr>
                      <a:r>
                        <a:rPr sz="700" b="0"/>
                        <a:t>Carrefour Kefir 500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2755917524"/>
              </p:ext>
            </p:extLst>
          </p:nvPr>
        </p:nvGraphicFramePr>
        <p:xfrm>
          <a:off x="2991173" y="1571347"/>
          <a:ext cx="2197734" cy="314904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1811345744"/>
              </p:ext>
            </p:extLst>
          </p:nvPr>
        </p:nvGraphicFramePr>
        <p:xfrm>
          <a:off x="5188907" y="1569997"/>
          <a:ext cx="2188972" cy="3162342"/>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7446062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0/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r>
              <a:t>DATA SOURCE: Consumer Test | April 2025</a:t>
            </a:r>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 Sourcing Analysis | Rescaled Delta Share by Product | Carrefour | Yopro</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277331545"/>
              </p:ext>
            </p:extLst>
          </p:nvPr>
        </p:nvGraphicFramePr>
        <p:xfrm>
          <a:off x="520200" y="1122363"/>
          <a:ext cx="6845570" cy="3625385"/>
        </p:xfrm>
        <a:graphic>
          <a:graphicData uri="http://schemas.openxmlformats.org/drawingml/2006/table">
            <a:tbl>
              <a:tblPr firstRow="1" bandRow="1">
                <a:tableStyleId>{5C22544A-7EE6-4342-B048-85BDC9FD1C3A}</a:tableStyleId>
              </a:tblPr>
              <a:tblGrid>
                <a:gridCol w="2462624">
                  <a:extLst>
                    <a:ext uri="{9D8B030D-6E8A-4147-A177-3AD203B41FA5}">
                      <a16:colId xmlns:a16="http://schemas.microsoft.com/office/drawing/2014/main" val="721526330"/>
                    </a:ext>
                  </a:extLst>
                </a:gridCol>
                <a:gridCol w="2191473">
                  <a:extLst>
                    <a:ext uri="{9D8B030D-6E8A-4147-A177-3AD203B41FA5}">
                      <a16:colId xmlns:a16="http://schemas.microsoft.com/office/drawing/2014/main" val="1048155142"/>
                    </a:ext>
                  </a:extLst>
                </a:gridCol>
                <a:gridCol w="2191473">
                  <a:extLst>
                    <a:ext uri="{9D8B030D-6E8A-4147-A177-3AD203B41FA5}">
                      <a16:colId xmlns:a16="http://schemas.microsoft.com/office/drawing/2014/main" val="2226225783"/>
                    </a:ext>
                  </a:extLst>
                </a:gridCol>
              </a:tblGrid>
              <a:tr h="443118">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YoPro Energia/Cafeina 50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YoPro Fresa 3+1x30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9297">
                <a:tc>
                  <a:txBody>
                    <a:bodyPr/>
                    <a:lstStyle/>
                    <a:p>
                      <a:pPr algn="l">
                        <a:defRPr>
                          <a:latin typeface="Nexa Book"/>
                        </a:defRPr>
                      </a:pPr>
                      <a:r>
                        <a:rPr sz="700" b="0"/>
                        <a:t>Carrefour Natural 8x125g</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9297">
                <a:tc>
                  <a:txBody>
                    <a:bodyPr/>
                    <a:lstStyle/>
                    <a:p>
                      <a:pPr algn="l">
                        <a:defRPr>
                          <a:latin typeface="Nexa Book"/>
                        </a:defRPr>
                      </a:pPr>
                      <a:r>
                        <a:rPr sz="700" b="0"/>
                        <a:t>Danone Fresa 4x120g</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9297">
                <a:tc>
                  <a:txBody>
                    <a:bodyPr/>
                    <a:lstStyle/>
                    <a:p>
                      <a:pPr algn="l">
                        <a:defRPr>
                          <a:latin typeface="Nexa Book"/>
                        </a:defRPr>
                      </a:pPr>
                      <a:r>
                        <a:rPr sz="700" b="0"/>
                        <a:t>Carrefour Griego Natural 6x125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9297">
                <a:tc>
                  <a:txBody>
                    <a:bodyPr/>
                    <a:lstStyle/>
                    <a:p>
                      <a:pPr algn="l">
                        <a:defRPr>
                          <a:latin typeface="Nexa Book"/>
                        </a:defRPr>
                      </a:pPr>
                      <a:r>
                        <a:rPr sz="700" b="0"/>
                        <a:t>Carrefour Sabores Mix 16x125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9297">
                <a:tc>
                  <a:txBody>
                    <a:bodyPr/>
                    <a:lstStyle/>
                    <a:p>
                      <a:pPr algn="l">
                        <a:defRPr>
                          <a:latin typeface="Nexa Book"/>
                        </a:defRPr>
                      </a:pPr>
                      <a:r>
                        <a:rPr sz="700" b="0"/>
                        <a:t>Carrefour Griego Natural 1000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9297">
                <a:tc>
                  <a:txBody>
                    <a:bodyPr/>
                    <a:lstStyle/>
                    <a:p>
                      <a:pPr algn="l">
                        <a:defRPr>
                          <a:latin typeface="Nexa Book"/>
                        </a:defRPr>
                      </a:pPr>
                      <a:r>
                        <a:rPr sz="700" b="0"/>
                        <a:t>YoPro Fresa 300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9297">
                <a:tc>
                  <a:txBody>
                    <a:bodyPr/>
                    <a:lstStyle/>
                    <a:p>
                      <a:pPr algn="l">
                        <a:defRPr>
                          <a:latin typeface="Nexa Book"/>
                        </a:defRPr>
                      </a:pPr>
                      <a:r>
                        <a:rPr sz="700" b="0"/>
                        <a:t>Alpro Coco 400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9297">
                <a:tc>
                  <a:txBody>
                    <a:bodyPr/>
                    <a:lstStyle/>
                    <a:p>
                      <a:pPr algn="l">
                        <a:defRPr>
                          <a:latin typeface="Nexa Book"/>
                        </a:defRPr>
                      </a:pPr>
                      <a:r>
                        <a:rPr sz="700" b="0"/>
                        <a:t>Danone Natural 8x120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9297">
                <a:tc>
                  <a:txBody>
                    <a:bodyPr/>
                    <a:lstStyle/>
                    <a:p>
                      <a:pPr algn="l">
                        <a:defRPr>
                          <a:latin typeface="Nexa Book"/>
                        </a:defRPr>
                      </a:pPr>
                      <a:r>
                        <a:rPr sz="700" b="0"/>
                        <a:t>Carrefour Griego Stracciatella 6x125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9297">
                <a:tc>
                  <a:txBody>
                    <a:bodyPr/>
                    <a:lstStyle/>
                    <a:p>
                      <a:pPr algn="l">
                        <a:defRPr>
                          <a:latin typeface="Nexa Book"/>
                        </a:defRPr>
                      </a:pPr>
                      <a:r>
                        <a:rPr sz="700" b="0"/>
                        <a:t>Carrefour L-Casei Fresa/Plátano y Piña/Coco 12x100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9297">
                <a:tc>
                  <a:txBody>
                    <a:bodyPr/>
                    <a:lstStyle/>
                    <a:p>
                      <a:pPr algn="l">
                        <a:defRPr>
                          <a:latin typeface="Nexa Book"/>
                        </a:defRPr>
                      </a:pPr>
                      <a:r>
                        <a:rPr sz="700" b="0"/>
                        <a:t>Carrefour Griego Fresa 6x125g</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2755917524"/>
              </p:ext>
            </p:extLst>
          </p:nvPr>
        </p:nvGraphicFramePr>
        <p:xfrm>
          <a:off x="2991173" y="1571347"/>
          <a:ext cx="2197734" cy="314904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1811345744"/>
              </p:ext>
            </p:extLst>
          </p:nvPr>
        </p:nvGraphicFramePr>
        <p:xfrm>
          <a:off x="5188907" y="1569997"/>
          <a:ext cx="2188972" cy="3162342"/>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5850356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0/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t>DATA SOURCE: Consumer Test | April 2025</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Carrefour | Alpro</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25168243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22845231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0/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t>DATA SOURCE: Consumer Test | April 2025</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Carrefour | Danacol</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25168243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24537850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A392020-34BE-7E4F-CB0C-D614C602BA7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4888DEA-F240-4680-941B-EDA3D8F62C95}"/>
              </a:ext>
            </a:extLst>
          </p:cNvPr>
          <p:cNvGraphicFramePr>
            <a:graphicFrameLocks/>
          </p:cNvGraphicFramePr>
          <p:nvPr>
            <p:extLst>
              <p:ext uri="{D42A27DB-BD31-4B8C-83A1-F6EECF244321}">
                <p14:modId xmlns:p14="http://schemas.microsoft.com/office/powerpoint/2010/main" val="4073746458"/>
              </p:ext>
            </p:extLst>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7BAFCE58-B928-3000-639C-213EF4C510C1}"/>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0/2025</a:t>
            </a:fld>
            <a:endParaRPr lang="en-US" noProof="0"/>
          </a:p>
        </p:txBody>
      </p:sp>
      <p:sp>
        <p:nvSpPr>
          <p:cNvPr id="4" name="Footer Placeholder 3">
            <a:extLst>
              <a:ext uri="{FF2B5EF4-FFF2-40B4-BE49-F238E27FC236}">
                <a16:creationId xmlns:a16="http://schemas.microsoft.com/office/drawing/2014/main" id="{2B2EEAAC-F86A-B5F2-1B6F-18475945AF9E}"/>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5F77E7A-3A20-B2EC-1A30-18BFB94B014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10" name="Content Placeholder 9">
            <a:extLst>
              <a:ext uri="{FF2B5EF4-FFF2-40B4-BE49-F238E27FC236}">
                <a16:creationId xmlns:a16="http://schemas.microsoft.com/office/drawing/2014/main" id="{3928E358-746D-422B-A23D-47E23D386150}"/>
              </a:ext>
            </a:extLst>
          </p:cNvPr>
          <p:cNvSpPr>
            <a:spLocks noGrp="1"/>
          </p:cNvSpPr>
          <p:nvPr>
            <p:ph type="body" sz="quarter" idx="17"/>
          </p:nvPr>
        </p:nvSpPr>
        <p:spPr>
          <a:xfrm>
            <a:off x="0" y="4734106"/>
            <a:ext cx="4572000" cy="222878"/>
          </a:xfrm>
        </p:spPr>
        <p:txBody>
          <a:bodyPr/>
          <a:lstStyle/>
          <a:p>
            <a:r>
              <a:t>DATA SOURCE: Consumer Test | April 2025</a:t>
            </a:r>
          </a:p>
        </p:txBody>
      </p:sp>
      <p:sp>
        <p:nvSpPr>
          <p:cNvPr id="5" name="Text Placeholder 4">
            <a:extLst>
              <a:ext uri="{FF2B5EF4-FFF2-40B4-BE49-F238E27FC236}">
                <a16:creationId xmlns:a16="http://schemas.microsoft.com/office/drawing/2014/main" id="{A093B738-C3A2-BB70-12B8-3674E3A302F4}"/>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Carrefour | Danone</a:t>
            </a:r>
          </a:p>
        </p:txBody>
      </p:sp>
      <p:sp>
        <p:nvSpPr>
          <p:cNvPr id="8" name="Title 7">
            <a:extLst>
              <a:ext uri="{FF2B5EF4-FFF2-40B4-BE49-F238E27FC236}">
                <a16:creationId xmlns:a16="http://schemas.microsoft.com/office/drawing/2014/main" id="{F59A75B5-7023-411F-8B3F-C745A7BBA78D}"/>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66175E8E-3D4B-4215-89AA-7D2E8F2D16C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321A35A-BA05-4371-B39B-137903A03986}"/>
              </a:ext>
            </a:extLst>
          </p:cNvPr>
          <p:cNvGraphicFramePr>
            <a:graphicFrameLocks/>
          </p:cNvGraphicFramePr>
          <p:nvPr>
            <p:extLst>
              <p:ext uri="{D42A27DB-BD31-4B8C-83A1-F6EECF244321}">
                <p14:modId xmlns:p14="http://schemas.microsoft.com/office/powerpoint/2010/main" val="551060688"/>
              </p:ext>
            </p:extLst>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E503607-E2DC-4D1E-8776-B5976E680F12}"/>
              </a:ext>
            </a:extLst>
          </p:cNvPr>
          <p:cNvGraphicFramePr>
            <a:graphicFrameLocks/>
          </p:cNvGraphicFramePr>
          <p:nvPr>
            <p:extLst>
              <p:ext uri="{D42A27DB-BD31-4B8C-83A1-F6EECF244321}">
                <p14:modId xmlns:p14="http://schemas.microsoft.com/office/powerpoint/2010/main" val="2779208185"/>
              </p:ext>
            </p:extLst>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C89AF43-EDEB-B561-3415-641BFA6279D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Tree>
    <p:extLst>
      <p:ext uri="{BB962C8B-B14F-4D97-AF65-F5344CB8AC3E}">
        <p14:creationId xmlns:p14="http://schemas.microsoft.com/office/powerpoint/2010/main" val="7921682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0/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t>DATA SOURCE: Consumer Test | April 2025</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Carrefour | Danonino</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25168243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42030732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2D4330-F24E-B54A-A80B-45C843E545E2}"/>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71F61A1-D46B-60DE-CDA2-6DA9FA69F59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31558EF-F323-693A-C837-37B2F27F4C5C}"/>
              </a:ext>
            </a:extLst>
          </p:cNvPr>
          <p:cNvGraphicFramePr>
            <a:graphicFrameLocks/>
          </p:cNvGraphicFramePr>
          <p:nvPr/>
        </p:nvGraphicFramePr>
        <p:xfrm>
          <a:off x="2613976" y="1131888"/>
          <a:ext cx="5670000" cy="17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E9855EE0-200A-9C46-92E1-CC5F97071499}"/>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0/2025</a:t>
            </a:fld>
            <a:endParaRPr lang="en-US" noProof="0"/>
          </a:p>
        </p:txBody>
      </p:sp>
      <p:sp>
        <p:nvSpPr>
          <p:cNvPr id="4" name="Footer Placeholder 3">
            <a:extLst>
              <a:ext uri="{FF2B5EF4-FFF2-40B4-BE49-F238E27FC236}">
                <a16:creationId xmlns:a16="http://schemas.microsoft.com/office/drawing/2014/main" id="{3548A4EA-EBAC-DF1A-81BC-B5EEB2AA6B5D}"/>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08D280CC-5963-F773-F795-60AD1DF39C1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10" name="Content Placeholder 9">
            <a:extLst>
              <a:ext uri="{FF2B5EF4-FFF2-40B4-BE49-F238E27FC236}">
                <a16:creationId xmlns:a16="http://schemas.microsoft.com/office/drawing/2014/main" id="{9C31B5AE-EC5D-4FF6-FA9A-ED02100F81A9}"/>
              </a:ext>
            </a:extLst>
          </p:cNvPr>
          <p:cNvSpPr>
            <a:spLocks noGrp="1"/>
          </p:cNvSpPr>
          <p:nvPr>
            <p:ph type="body" sz="quarter" idx="17"/>
          </p:nvPr>
        </p:nvSpPr>
        <p:spPr>
          <a:xfrm>
            <a:off x="0" y="4734106"/>
            <a:ext cx="4572000" cy="222878"/>
          </a:xfrm>
        </p:spPr>
        <p:txBody>
          <a:bodyPr/>
          <a:lstStyle/>
          <a:p>
            <a:r>
              <a:t>DATA SOURCE: Consumer Test | April 2025</a:t>
            </a:r>
          </a:p>
        </p:txBody>
      </p:sp>
      <p:sp>
        <p:nvSpPr>
          <p:cNvPr id="5" name="Text Placeholder 4">
            <a:extLst>
              <a:ext uri="{FF2B5EF4-FFF2-40B4-BE49-F238E27FC236}">
                <a16:creationId xmlns:a16="http://schemas.microsoft.com/office/drawing/2014/main" id="{82AA7EDB-0442-1D93-B85E-6D0899153B56}"/>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Carrefour | Oikos</a:t>
            </a:r>
          </a:p>
        </p:txBody>
      </p:sp>
      <p:sp>
        <p:nvSpPr>
          <p:cNvPr id="8" name="Title 7">
            <a:extLst>
              <a:ext uri="{FF2B5EF4-FFF2-40B4-BE49-F238E27FC236}">
                <a16:creationId xmlns:a16="http://schemas.microsoft.com/office/drawing/2014/main" id="{0C5AE0D8-6E7C-6DEB-E156-931C334E316B}"/>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0D641A0F-8381-A31E-C499-811BC0EA2A05}"/>
              </a:ext>
            </a:extLst>
          </p:cNvPr>
          <p:cNvGraphicFramePr>
            <a:graphicFrameLocks/>
          </p:cNvGraphicFramePr>
          <p:nvPr/>
        </p:nvGraphicFramePr>
        <p:xfrm>
          <a:off x="2613976" y="2964741"/>
          <a:ext cx="5670000" cy="1764000"/>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E8972F00-7BB9-669E-1FF7-8F871A327FB7}"/>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BB31FB27-0FC4-6247-CFB0-92101147EE74}"/>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24086432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2D4330-F24E-B54A-A80B-45C843E545E2}"/>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71F61A1-D46B-60DE-CDA2-6DA9FA69F59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31558EF-F323-693A-C837-37B2F27F4C5C}"/>
              </a:ext>
            </a:extLst>
          </p:cNvPr>
          <p:cNvGraphicFramePr>
            <a:graphicFrameLocks/>
          </p:cNvGraphicFramePr>
          <p:nvPr/>
        </p:nvGraphicFramePr>
        <p:xfrm>
          <a:off x="2613976" y="1131888"/>
          <a:ext cx="5670000" cy="17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E9855EE0-200A-9C46-92E1-CC5F97071499}"/>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0/2025</a:t>
            </a:fld>
            <a:endParaRPr lang="en-US" noProof="0"/>
          </a:p>
        </p:txBody>
      </p:sp>
      <p:sp>
        <p:nvSpPr>
          <p:cNvPr id="4" name="Footer Placeholder 3">
            <a:extLst>
              <a:ext uri="{FF2B5EF4-FFF2-40B4-BE49-F238E27FC236}">
                <a16:creationId xmlns:a16="http://schemas.microsoft.com/office/drawing/2014/main" id="{3548A4EA-EBAC-DF1A-81BC-B5EEB2AA6B5D}"/>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08D280CC-5963-F773-F795-60AD1DF39C1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10" name="Content Placeholder 9">
            <a:extLst>
              <a:ext uri="{FF2B5EF4-FFF2-40B4-BE49-F238E27FC236}">
                <a16:creationId xmlns:a16="http://schemas.microsoft.com/office/drawing/2014/main" id="{9C31B5AE-EC5D-4FF6-FA9A-ED02100F81A9}"/>
              </a:ext>
            </a:extLst>
          </p:cNvPr>
          <p:cNvSpPr>
            <a:spLocks noGrp="1"/>
          </p:cNvSpPr>
          <p:nvPr>
            <p:ph type="body" sz="quarter" idx="17"/>
          </p:nvPr>
        </p:nvSpPr>
        <p:spPr>
          <a:xfrm>
            <a:off x="0" y="4734106"/>
            <a:ext cx="4572000" cy="222878"/>
          </a:xfrm>
        </p:spPr>
        <p:txBody>
          <a:bodyPr/>
          <a:lstStyle/>
          <a:p>
            <a:r>
              <a:t>DATA SOURCE: Consumer Test | April 2025</a:t>
            </a:r>
          </a:p>
        </p:txBody>
      </p:sp>
      <p:sp>
        <p:nvSpPr>
          <p:cNvPr id="5" name="Text Placeholder 4">
            <a:extLst>
              <a:ext uri="{FF2B5EF4-FFF2-40B4-BE49-F238E27FC236}">
                <a16:creationId xmlns:a16="http://schemas.microsoft.com/office/drawing/2014/main" id="{82AA7EDB-0442-1D93-B85E-6D0899153B56}"/>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Carrefour | Yopro</a:t>
            </a:r>
          </a:p>
        </p:txBody>
      </p:sp>
      <p:sp>
        <p:nvSpPr>
          <p:cNvPr id="8" name="Title 7">
            <a:extLst>
              <a:ext uri="{FF2B5EF4-FFF2-40B4-BE49-F238E27FC236}">
                <a16:creationId xmlns:a16="http://schemas.microsoft.com/office/drawing/2014/main" id="{0C5AE0D8-6E7C-6DEB-E156-931C334E316B}"/>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0D641A0F-8381-A31E-C499-811BC0EA2A05}"/>
              </a:ext>
            </a:extLst>
          </p:cNvPr>
          <p:cNvGraphicFramePr>
            <a:graphicFrameLocks/>
          </p:cNvGraphicFramePr>
          <p:nvPr/>
        </p:nvGraphicFramePr>
        <p:xfrm>
          <a:off x="2613976" y="2964741"/>
          <a:ext cx="5670000" cy="1764000"/>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E8972F00-7BB9-669E-1FF7-8F871A327FB7}"/>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BB31FB27-0FC4-6247-CFB0-92101147EE74}"/>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131048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30/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April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Carrefour | Danone</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096521214"/>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Sector Avg</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2338226">
                  <a:extLst>
                    <a:ext uri="{9D8B030D-6E8A-4147-A177-3AD203B41FA5}">
                      <a16:colId xmlns:a16="http://schemas.microsoft.com/office/drawing/2014/main" val="4292788590"/>
                    </a:ext>
                  </a:extLst>
                </a:gridCol>
                <a:gridCol w="2338226">
                  <a:extLst>
                    <a:ext uri="{9D8B030D-6E8A-4147-A177-3AD203B41FA5}">
                      <a16:colId xmlns:a16="http://schemas.microsoft.com/office/drawing/2014/main" val="401539003"/>
                    </a:ext>
                  </a:extLst>
                </a:gridCol>
                <a:gridCol w="2338226">
                  <a:extLst>
                    <a:ext uri="{9D8B030D-6E8A-4147-A177-3AD203B41FA5}">
                      <a16:colId xmlns:a16="http://schemas.microsoft.com/office/drawing/2014/main" val="138763722"/>
                    </a:ext>
                  </a:extLst>
                </a:gridCol>
              </a:tblGrid>
              <a:tr h="320040">
                <a:tc>
                  <a:txBody>
                    <a:bodyPr/>
                    <a:lstStyle/>
                    <a:p>
                      <a:pPr>
                        <a:defRPr>
                          <a:latin typeface="Nexa Bold"/>
                        </a:defRPr>
                      </a:pPr>
                      <a:r>
                        <a:rPr sz="800" b="0"/>
                        <a:t>Cannibalization within </a:t>
                      </a:r>
                    </a:p>
                    <a:p>
                      <a:pPr>
                        <a:defRPr>
                          <a:latin typeface="Nexa Bold"/>
                        </a:defRPr>
                      </a:pPr>
                      <a:r>
                        <a:rPr sz="800" b="0"/>
                        <a:t>Danone Group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3%</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9%</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4%</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Danone Group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Danone Group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9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4554802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D75CFAE-90C7-4A64-8937-E4AA45CA8D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9069D81-7D0D-4539-9F54-7E79AD6EBD13}">
  <ds:schemaRefs>
    <ds:schemaRef ds:uri="http://schemas.microsoft.com/office/infopath/2007/PartnerControls"/>
    <ds:schemaRef ds:uri="http://schemas.microsoft.com/office/2006/metadata/properties"/>
    <ds:schemaRef ds:uri="474cf4e4-8a51-432b-9e1b-0ea607ac38ff"/>
    <ds:schemaRef ds:uri="http://schemas.microsoft.com/office/2006/documentManagement/types"/>
    <ds:schemaRef ds:uri="http://schemas.openxmlformats.org/package/2006/metadata/core-properties"/>
    <ds:schemaRef ds:uri="http://purl.org/dc/elements/1.1/"/>
    <ds:schemaRef ds:uri="http://purl.org/dc/terms/"/>
    <ds:schemaRef ds:uri="0ad93b7f-b0cd-4c46-aaaf-ff14495948cf"/>
    <ds:schemaRef ds:uri="http://www.w3.org/XML/1998/namespace"/>
    <ds:schemaRef ds:uri="http://purl.org/dc/dcmitype/"/>
  </ds:schemaRefs>
</ds:datastoreItem>
</file>

<file path=customXml/itemProps3.xml><?xml version="1.0" encoding="utf-8"?>
<ds:datastoreItem xmlns:ds="http://schemas.openxmlformats.org/officeDocument/2006/customXml" ds:itemID="{D21786C5-D6DC-4DB9-87D8-B24F55D3189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5</TotalTime>
  <Words>1636</Words>
  <Application>Microsoft Office PowerPoint</Application>
  <PresentationFormat>On-screen Show (16:9)</PresentationFormat>
  <Paragraphs>435</Paragraphs>
  <Slides>22</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1" baseType="lpstr">
      <vt:lpstr>Aptos</vt:lpstr>
      <vt:lpstr>Arial</vt:lpstr>
      <vt:lpstr>Nexa</vt:lpstr>
      <vt:lpstr>Nexa Bold</vt:lpstr>
      <vt:lpstr>Nexa Book</vt:lpstr>
      <vt:lpstr>Nexa Book Italic</vt:lpstr>
      <vt:lpstr>Open Sans</vt:lpstr>
      <vt:lpstr>PricingOne Light Template Oct 2024</vt:lpstr>
      <vt:lpstr>think-cell Slide</vt:lpstr>
      <vt:lpstr>Innovation summary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12</cp:revision>
  <dcterms:created xsi:type="dcterms:W3CDTF">2024-07-08T12:20:01Z</dcterms:created>
  <dcterms:modified xsi:type="dcterms:W3CDTF">2025-07-30T10:28: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